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8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9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1"/>
    <p:sldMasterId id="2147483886" r:id="rId2"/>
    <p:sldMasterId id="2147483907" r:id="rId3"/>
    <p:sldMasterId id="2147483929" r:id="rId4"/>
    <p:sldMasterId id="2147483948" r:id="rId5"/>
    <p:sldMasterId id="2147483967" r:id="rId6"/>
    <p:sldMasterId id="2147483986" r:id="rId7"/>
    <p:sldMasterId id="2147484005" r:id="rId8"/>
    <p:sldMasterId id="2147484024" r:id="rId9"/>
    <p:sldMasterId id="2147484043" r:id="rId10"/>
  </p:sldMasterIdLst>
  <p:notesMasterIdLst>
    <p:notesMasterId r:id="rId16"/>
  </p:notesMasterIdLst>
  <p:handoutMasterIdLst>
    <p:handoutMasterId r:id="rId17"/>
  </p:handoutMasterIdLst>
  <p:sldIdLst>
    <p:sldId id="860" r:id="rId11"/>
    <p:sldId id="899" r:id="rId12"/>
    <p:sldId id="901" r:id="rId13"/>
    <p:sldId id="900" r:id="rId14"/>
    <p:sldId id="902" r:id="rId15"/>
  </p:sldIdLst>
  <p:sldSz cx="12192000" cy="6858000"/>
  <p:notesSz cx="9875838" cy="679926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kumimoji="1"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4156" userDrawn="1">
          <p15:clr>
            <a:srgbClr val="A4A3A4"/>
          </p15:clr>
        </p15:guide>
        <p15:guide id="3" orient="horz" pos="709" userDrawn="1">
          <p15:clr>
            <a:srgbClr val="A4A3A4"/>
          </p15:clr>
        </p15:guide>
        <p15:guide id="4" orient="horz" pos="2115" userDrawn="1">
          <p15:clr>
            <a:srgbClr val="A4A3A4"/>
          </p15:clr>
        </p15:guide>
        <p15:guide id="5" orient="horz" pos="2205" userDrawn="1">
          <p15:clr>
            <a:srgbClr val="A4A3A4"/>
          </p15:clr>
        </p15:guide>
        <p15:guide id="6" orient="horz" pos="3158" userDrawn="1">
          <p15:clr>
            <a:srgbClr val="A4A3A4"/>
          </p15:clr>
        </p15:guide>
        <p15:guide id="7" orient="horz" pos="3203" userDrawn="1">
          <p15:clr>
            <a:srgbClr val="A4A3A4"/>
          </p15:clr>
        </p15:guide>
        <p15:guide id="8" orient="horz" pos="981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53" userDrawn="1">
          <p15:clr>
            <a:srgbClr val="A4A3A4"/>
          </p15:clr>
        </p15:guide>
        <p15:guide id="11" pos="7589" userDrawn="1">
          <p15:clr>
            <a:srgbClr val="A4A3A4"/>
          </p15:clr>
        </p15:guide>
        <p15:guide id="12" pos="3900" userDrawn="1">
          <p15:clr>
            <a:srgbClr val="A4A3A4"/>
          </p15:clr>
        </p15:guide>
        <p15:guide id="13" pos="3780" userDrawn="1">
          <p15:clr>
            <a:srgbClr val="A4A3A4"/>
          </p15:clr>
        </p15:guide>
        <p15:guide id="14" orient="horz" pos="2387" userDrawn="1">
          <p15:clr>
            <a:srgbClr val="A4A3A4"/>
          </p15:clr>
        </p15:guide>
        <p15:guide id="15" orient="horz" pos="663" userDrawn="1">
          <p15:clr>
            <a:srgbClr val="A4A3A4"/>
          </p15:clr>
        </p15:guide>
        <p15:guide id="16" orient="horz" pos="2341" userDrawn="1">
          <p15:clr>
            <a:srgbClr val="A4A3A4"/>
          </p15:clr>
        </p15:guide>
        <p15:guide id="17" orient="horz" pos="2432" userDrawn="1">
          <p15:clr>
            <a:srgbClr val="A4A3A4"/>
          </p15:clr>
        </p15:guide>
        <p15:guide id="18" orient="horz" pos="935" userDrawn="1">
          <p15:clr>
            <a:srgbClr val="A4A3A4"/>
          </p15:clr>
        </p15:guide>
        <p15:guide id="19" orient="horz" pos="2704" userDrawn="1">
          <p15:clr>
            <a:srgbClr val="A4A3A4"/>
          </p15:clr>
        </p15:guide>
        <p15:guide id="20" orient="horz" pos="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2" userDrawn="1">
          <p15:clr>
            <a:srgbClr val="A4A3A4"/>
          </p15:clr>
        </p15:guide>
        <p15:guide id="2" pos="311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исовский Алексей Олегович" initials="ЛАО" lastIdx="0" clrIdx="0">
    <p:extLst>
      <p:ext uri="{19B8F6BF-5375-455C-9EA6-DF929625EA0E}">
        <p15:presenceInfo xmlns:p15="http://schemas.microsoft.com/office/powerpoint/2012/main" userId="S-1-5-21-1427493287-2892074134-283380318-11485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B200"/>
    <a:srgbClr val="094B98"/>
    <a:srgbClr val="0077C8"/>
    <a:srgbClr val="4985C0"/>
    <a:srgbClr val="99BBDD"/>
    <a:srgbClr val="FBFBFB"/>
    <a:srgbClr val="0069B8"/>
    <a:srgbClr val="FF6699"/>
    <a:srgbClr val="0097CC"/>
    <a:srgbClr val="A500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54" autoAdjust="0"/>
    <p:restoredTop sz="96159" autoAdjust="0"/>
  </p:normalViewPr>
  <p:slideViewPr>
    <p:cSldViewPr>
      <p:cViewPr varScale="1">
        <p:scale>
          <a:sx n="157" d="100"/>
          <a:sy n="157" d="100"/>
        </p:scale>
        <p:origin x="852" y="144"/>
      </p:cViewPr>
      <p:guideLst>
        <p:guide orient="horz" pos="2160"/>
        <p:guide orient="horz" pos="4156"/>
        <p:guide orient="horz" pos="709"/>
        <p:guide orient="horz" pos="2115"/>
        <p:guide orient="horz" pos="2205"/>
        <p:guide orient="horz" pos="3158"/>
        <p:guide orient="horz" pos="3203"/>
        <p:guide orient="horz" pos="981"/>
        <p:guide pos="3840"/>
        <p:guide pos="453"/>
        <p:guide pos="7589"/>
        <p:guide pos="3900"/>
        <p:guide pos="3780"/>
        <p:guide orient="horz" pos="2387"/>
        <p:guide orient="horz" pos="663"/>
        <p:guide orient="horz" pos="2341"/>
        <p:guide orient="horz" pos="2432"/>
        <p:guide orient="horz" pos="935"/>
        <p:guide orient="horz" pos="2704"/>
        <p:guide orient="horz" pos="2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howGuides="1">
      <p:cViewPr varScale="1">
        <p:scale>
          <a:sx n="113" d="100"/>
          <a:sy n="113" d="100"/>
        </p:scale>
        <p:origin x="2112" y="108"/>
      </p:cViewPr>
      <p:guideLst>
        <p:guide orient="horz" pos="2142"/>
        <p:guide pos="311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10" Type="http://schemas.openxmlformats.org/officeDocument/2006/relationships/slideMaster" Target="slideMasters/slideMaster10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3"/>
            <a:ext cx="4280606" cy="34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4" tIns="45780" rIns="91554" bIns="45780" numCol="1" anchor="t" anchorCtr="0" compatLnSpc="1">
            <a:prstTxWarp prst="textNoShape">
              <a:avLst/>
            </a:prstTxWarp>
          </a:bodyPr>
          <a:lstStyle>
            <a:lvl1pPr defTabSz="915765">
              <a:defRPr sz="1200"/>
            </a:lvl1pPr>
          </a:lstStyle>
          <a:p>
            <a:endParaRPr lang="ru-RU" dirty="0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595232" y="3"/>
            <a:ext cx="4280606" cy="34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4" tIns="45780" rIns="91554" bIns="45780" numCol="1" anchor="t" anchorCtr="0" compatLnSpc="1">
            <a:prstTxWarp prst="textNoShape">
              <a:avLst/>
            </a:prstTxWarp>
          </a:bodyPr>
          <a:lstStyle>
            <a:lvl1pPr algn="r" defTabSz="915765">
              <a:defRPr sz="1200"/>
            </a:lvl1pPr>
          </a:lstStyle>
          <a:p>
            <a:endParaRPr lang="ru-RU" dirty="0"/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6458921"/>
            <a:ext cx="4280606" cy="34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4" tIns="45780" rIns="91554" bIns="45780" numCol="1" anchor="b" anchorCtr="0" compatLnSpc="1">
            <a:prstTxWarp prst="textNoShape">
              <a:avLst/>
            </a:prstTxWarp>
          </a:bodyPr>
          <a:lstStyle>
            <a:lvl1pPr defTabSz="915765">
              <a:defRPr sz="1200"/>
            </a:lvl1pPr>
          </a:lstStyle>
          <a:p>
            <a:endParaRPr lang="ru-RU" dirty="0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95232" y="6458921"/>
            <a:ext cx="4280606" cy="34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4" tIns="45780" rIns="91554" bIns="45780" numCol="1" anchor="b" anchorCtr="0" compatLnSpc="1">
            <a:prstTxWarp prst="textNoShape">
              <a:avLst/>
            </a:prstTxWarp>
          </a:bodyPr>
          <a:lstStyle>
            <a:lvl1pPr algn="r" defTabSz="915765">
              <a:defRPr sz="1200"/>
            </a:lvl1pPr>
          </a:lstStyle>
          <a:p>
            <a:fld id="{72D4A1C0-D50D-4505-B753-97454B369E9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40238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3"/>
            <a:ext cx="4280606" cy="34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4" tIns="45780" rIns="91554" bIns="45780" numCol="1" anchor="t" anchorCtr="0" compatLnSpc="1">
            <a:prstTxWarp prst="textNoShape">
              <a:avLst/>
            </a:prstTxWarp>
          </a:bodyPr>
          <a:lstStyle>
            <a:lvl1pPr defTabSz="915765">
              <a:defRPr sz="1200"/>
            </a:lvl1pPr>
          </a:lstStyle>
          <a:p>
            <a:endParaRPr lang="ru-RU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595232" y="3"/>
            <a:ext cx="4280606" cy="34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4" tIns="45780" rIns="91554" bIns="45780" numCol="1" anchor="t" anchorCtr="0" compatLnSpc="1">
            <a:prstTxWarp prst="textNoShape">
              <a:avLst/>
            </a:prstTxWarp>
          </a:bodyPr>
          <a:lstStyle>
            <a:lvl1pPr algn="r" defTabSz="915765">
              <a:defRPr sz="1200"/>
            </a:lvl1pPr>
          </a:lstStyle>
          <a:p>
            <a:endParaRPr lang="ru-RU" dirty="0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673350" y="509588"/>
            <a:ext cx="4532313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16935" y="3230550"/>
            <a:ext cx="7241973" cy="30587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4" tIns="45780" rIns="91554" bIns="457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6458921"/>
            <a:ext cx="4280606" cy="34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4" tIns="45780" rIns="91554" bIns="45780" numCol="1" anchor="b" anchorCtr="0" compatLnSpc="1">
            <a:prstTxWarp prst="textNoShape">
              <a:avLst/>
            </a:prstTxWarp>
          </a:bodyPr>
          <a:lstStyle>
            <a:lvl1pPr defTabSz="915765">
              <a:defRPr sz="1200"/>
            </a:lvl1pPr>
          </a:lstStyle>
          <a:p>
            <a:endParaRPr lang="ru-RU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95232" y="6458921"/>
            <a:ext cx="4280606" cy="34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4" tIns="45780" rIns="91554" bIns="45780" numCol="1" anchor="b" anchorCtr="0" compatLnSpc="1">
            <a:prstTxWarp prst="textNoShape">
              <a:avLst/>
            </a:prstTxWarp>
          </a:bodyPr>
          <a:lstStyle>
            <a:lvl1pPr algn="r" defTabSz="915765">
              <a:defRPr sz="1200"/>
            </a:lvl1pPr>
          </a:lstStyle>
          <a:p>
            <a:fld id="{F4CEE79C-D626-4252-94BD-891D4E2E88FD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999466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673350" y="509588"/>
            <a:ext cx="4532313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87933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34CDB1-6B3B-4059-A681-9D827BAB750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23707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34CDB1-6B3B-4059-A681-9D827BAB750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9629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Relationship Id="rId9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4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Relationship Id="rId9" Type="http://schemas.openxmlformats.org/officeDocument/2006/relationships/image" Target="../media/image6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4.png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Relationship Id="rId9" Type="http://schemas.openxmlformats.org/officeDocument/2006/relationships/image" Target="../media/image6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6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6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2" descr="C:\Users\AyzikovIS\Desktop\ДЗПА\Photo\Russia Polar Division ZF\--33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501548"/>
            <a:ext cx="10639100" cy="325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Рисунок 1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286324" y="1260348"/>
            <a:ext cx="1669701" cy="244603"/>
          </a:xfrm>
          <a:prstGeom prst="rect">
            <a:avLst/>
          </a:prstGeom>
        </p:spPr>
        <p:txBody>
          <a:bodyPr anchor="ctr" anchorCtr="0"/>
          <a:lstStyle>
            <a:lvl1pPr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5027358"/>
            <a:ext cx="10080000" cy="914400"/>
          </a:xfrm>
          <a:prstGeom prst="rect">
            <a:avLst/>
          </a:prstGeom>
        </p:spPr>
        <p:txBody>
          <a:bodyPr anchor="t" anchorCtr="0"/>
          <a:lstStyle>
            <a:lvl1pPr>
              <a:defRPr sz="300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8" name="Рисунок 1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8799" y="6074410"/>
            <a:ext cx="10080000" cy="585470"/>
          </a:xfrm>
          <a:prstGeom prst="rect">
            <a:avLst/>
          </a:prstGeom>
        </p:spPr>
        <p:txBody>
          <a:bodyPr/>
          <a:lstStyle>
            <a:lvl1pPr>
              <a:defRPr sz="1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33068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5464961-A40E-41AD-9F0E-027E2C11B54F}" type="slidenum">
              <a:rPr kumimoji="0"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61399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3585248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5464961-A40E-41AD-9F0E-027E2C11B54F}" type="slidenum">
              <a:rPr kumimoji="0"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138081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3391" y="5070328"/>
            <a:ext cx="10870108" cy="5909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18815" y="5758408"/>
            <a:ext cx="10874684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86324" y="1126998"/>
            <a:ext cx="1666328" cy="20424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7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январь 20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2821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текст картинк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817688"/>
            <a:ext cx="5365749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2" y="3078164"/>
            <a:ext cx="53530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8278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артинк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4116915" cy="3849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39882" y="1772952"/>
            <a:ext cx="6453617" cy="1977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6227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70"/>
            <a:ext cx="4116915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145403" y="1732765"/>
            <a:ext cx="4022939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4564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одна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5034262" y="1729456"/>
            <a:ext cx="6435796" cy="17445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42" y="3690652"/>
            <a:ext cx="6453617" cy="18812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2544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т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758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текст в двух мес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Промышленная безопасность и охрана труда январь 2022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10763248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1" y="3122232"/>
            <a:ext cx="107505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7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2170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2" descr="C:\Users\AyzikovIS\Desktop\ДЗПА\Photo\Russia Polar Division ZF\--33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501548"/>
            <a:ext cx="10639100" cy="325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Рисунок 1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286324" y="1260348"/>
            <a:ext cx="1669701" cy="244603"/>
          </a:xfrm>
          <a:prstGeom prst="rect">
            <a:avLst/>
          </a:prstGeom>
        </p:spPr>
        <p:txBody>
          <a:bodyPr anchor="ctr" anchorCtr="0"/>
          <a:lstStyle>
            <a:lvl1pPr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5027358"/>
            <a:ext cx="10080000" cy="914400"/>
          </a:xfrm>
          <a:prstGeom prst="rect">
            <a:avLst/>
          </a:prstGeom>
        </p:spPr>
        <p:txBody>
          <a:bodyPr anchor="t" anchorCtr="0"/>
          <a:lstStyle>
            <a:lvl1pPr>
              <a:defRPr sz="300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8" name="Рисунок 1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56" name="Picture 55" descr="DP_ Primary_singleline"/>
          <p:cNvPicPr/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8799" y="6074410"/>
            <a:ext cx="10080000" cy="585470"/>
          </a:xfrm>
          <a:prstGeom prst="rect">
            <a:avLst/>
          </a:prstGeom>
        </p:spPr>
        <p:txBody>
          <a:bodyPr/>
          <a:lstStyle>
            <a:lvl1pPr>
              <a:defRPr sz="1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80681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текст в двух мес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10763248" cy="96324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1" y="3122232"/>
            <a:ext cx="10750549" cy="2447925"/>
          </a:xfr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7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8478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68275"/>
            <a:ext cx="9103360" cy="914400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LIDE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6252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1" userDrawn="1">
          <p15:clr>
            <a:srgbClr val="FBAE40"/>
          </p15:clr>
        </p15:guide>
        <p15:guide id="2" orient="horz" pos="142" userDrawn="1">
          <p15:clr>
            <a:srgbClr val="FBAE40"/>
          </p15:clr>
        </p15:guide>
        <p15:guide id="3" pos="7469" userDrawn="1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1622323"/>
            <a:ext cx="8809703" cy="32298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6" name="Рисунок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0" name="Picture 9" descr="DP_ Primary_singleline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5" y="2624599"/>
            <a:ext cx="6272092" cy="9144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70462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381" y="2057400"/>
            <a:ext cx="11208619" cy="48006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C4C4C5"/>
              </a:clrFrom>
              <a:clrTo>
                <a:srgbClr val="C4C4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58702"/>
            <a:ext cx="7315200" cy="236316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Рисунок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1" name="Picture 10" descr="DP_ Primary_singleline"/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6" y="2809465"/>
            <a:ext cx="4963309" cy="9144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THANK YOU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507320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27695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50711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002119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c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696024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7823432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5464961-A40E-41AD-9F0E-027E2C11B54F}" type="slidenum">
              <a:rPr kumimoji="0"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848271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3391" y="5070328"/>
            <a:ext cx="10870108" cy="5909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18815" y="5758408"/>
            <a:ext cx="10874684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86324" y="1126998"/>
            <a:ext cx="1666328" cy="20424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7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январь 20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5453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3391" y="5070328"/>
            <a:ext cx="10870108" cy="5909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18815" y="5758408"/>
            <a:ext cx="10874684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86324" y="1126998"/>
            <a:ext cx="1666328" cy="20424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7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январь 20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3285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текст картинк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817688"/>
            <a:ext cx="5365749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2" y="3078164"/>
            <a:ext cx="53530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4095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артинк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4116915" cy="3849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39882" y="1772952"/>
            <a:ext cx="6453617" cy="1977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259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70"/>
            <a:ext cx="4116915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145403" y="1732765"/>
            <a:ext cx="4022939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3656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одна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5034262" y="1729456"/>
            <a:ext cx="6435796" cy="17445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42" y="3690652"/>
            <a:ext cx="6453617" cy="18812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1382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т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982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текст в двух мес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Промышленная безопасность и охрана труда январь 2022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10763248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1" y="3122232"/>
            <a:ext cx="107505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7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5918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2" descr="C:\Users\AyzikovIS\Desktop\ДЗПА\Photo\Russia Polar Division ZF\--33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501548"/>
            <a:ext cx="10639100" cy="325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Рисунок 1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286324" y="1260348"/>
            <a:ext cx="1669701" cy="244603"/>
          </a:xfrm>
          <a:prstGeom prst="rect">
            <a:avLst/>
          </a:prstGeom>
        </p:spPr>
        <p:txBody>
          <a:bodyPr anchor="ctr" anchorCtr="0"/>
          <a:lstStyle>
            <a:lvl1pPr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5027358"/>
            <a:ext cx="10080000" cy="914400"/>
          </a:xfrm>
          <a:prstGeom prst="rect">
            <a:avLst/>
          </a:prstGeom>
        </p:spPr>
        <p:txBody>
          <a:bodyPr anchor="t" anchorCtr="0"/>
          <a:lstStyle>
            <a:lvl1pPr>
              <a:defRPr sz="300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8" name="Рисунок 1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56" name="Picture 55" descr="DP_ Primary_singleline"/>
          <p:cNvPicPr/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8799" y="6074410"/>
            <a:ext cx="10080000" cy="585470"/>
          </a:xfrm>
          <a:prstGeom prst="rect">
            <a:avLst/>
          </a:prstGeom>
        </p:spPr>
        <p:txBody>
          <a:bodyPr/>
          <a:lstStyle>
            <a:lvl1pPr>
              <a:defRPr sz="1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82010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68275"/>
            <a:ext cx="9103360" cy="914400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LIDE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36111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1" userDrawn="1">
          <p15:clr>
            <a:srgbClr val="FBAE40"/>
          </p15:clr>
        </p15:guide>
        <p15:guide id="2" orient="horz" pos="142" userDrawn="1">
          <p15:clr>
            <a:srgbClr val="FBAE40"/>
          </p15:clr>
        </p15:guide>
        <p15:guide id="3" pos="7469" userDrawn="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1622323"/>
            <a:ext cx="8809703" cy="32298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6" name="Рисунок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0" name="Picture 9" descr="DP_ Primary_singleline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5" y="2624599"/>
            <a:ext cx="6272092" cy="9144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9972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381" y="2057400"/>
            <a:ext cx="11208619" cy="48006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C4C4C5"/>
              </a:clrFrom>
              <a:clrTo>
                <a:srgbClr val="C4C4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58702"/>
            <a:ext cx="7315200" cy="236316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Рисунок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1" name="Picture 10" descr="DP_ Primary_singleline"/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6" y="2809465"/>
            <a:ext cx="4963309" cy="9144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THANK YOU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1771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текст картинк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817688"/>
            <a:ext cx="5365749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2" y="3078164"/>
            <a:ext cx="53530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5970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730935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282290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72827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c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403253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77197802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5464961-A40E-41AD-9F0E-027E2C11B54F}" type="slidenum">
              <a:rPr kumimoji="0"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016425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3391" y="5070328"/>
            <a:ext cx="10870108" cy="5909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18815" y="5758408"/>
            <a:ext cx="10874684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86324" y="1126998"/>
            <a:ext cx="1666328" cy="20424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7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январь 20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4381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текст картинк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817688"/>
            <a:ext cx="5365749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2" y="3078164"/>
            <a:ext cx="53530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5732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артинк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4116915" cy="3849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39882" y="1772952"/>
            <a:ext cx="6453617" cy="1977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1623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70"/>
            <a:ext cx="4116915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145403" y="1732765"/>
            <a:ext cx="4022939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833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артинк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4116915" cy="3849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39882" y="1772952"/>
            <a:ext cx="6453617" cy="1977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5741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одна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5034262" y="1729456"/>
            <a:ext cx="6435796" cy="17445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42" y="3690652"/>
            <a:ext cx="6453617" cy="18812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3146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т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546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текст в двух мес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Промышленная безопасность и охрана труда январь 2022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10763248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1" y="3122232"/>
            <a:ext cx="107505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7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67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2" descr="C:\Users\AyzikovIS\Desktop\ДЗПА\Photo\Russia Polar Division ZF\--33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501548"/>
            <a:ext cx="10639100" cy="325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Рисунок 1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286324" y="1260348"/>
            <a:ext cx="1669701" cy="244603"/>
          </a:xfrm>
          <a:prstGeom prst="rect">
            <a:avLst/>
          </a:prstGeom>
        </p:spPr>
        <p:txBody>
          <a:bodyPr anchor="ctr" anchorCtr="0"/>
          <a:lstStyle>
            <a:lvl1pPr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5027358"/>
            <a:ext cx="10080000" cy="914400"/>
          </a:xfrm>
          <a:prstGeom prst="rect">
            <a:avLst/>
          </a:prstGeom>
        </p:spPr>
        <p:txBody>
          <a:bodyPr anchor="t" anchorCtr="0"/>
          <a:lstStyle>
            <a:lvl1pPr>
              <a:defRPr sz="300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8" name="Рисунок 1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56" name="Picture 55" descr="DP_ Primary_singleline"/>
          <p:cNvPicPr/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8799" y="6074410"/>
            <a:ext cx="10080000" cy="585470"/>
          </a:xfrm>
          <a:prstGeom prst="rect">
            <a:avLst/>
          </a:prstGeom>
        </p:spPr>
        <p:txBody>
          <a:bodyPr/>
          <a:lstStyle>
            <a:lvl1pPr>
              <a:defRPr sz="1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621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68275"/>
            <a:ext cx="9103360" cy="914400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LIDE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95505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1" userDrawn="1">
          <p15:clr>
            <a:srgbClr val="FBAE40"/>
          </p15:clr>
        </p15:guide>
        <p15:guide id="2" orient="horz" pos="142" userDrawn="1">
          <p15:clr>
            <a:srgbClr val="FBAE40"/>
          </p15:clr>
        </p15:guide>
        <p15:guide id="3" pos="7469" userDrawn="1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1622323"/>
            <a:ext cx="8809703" cy="32298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6" name="Рисунок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0" name="Picture 9" descr="DP_ Primary_singleline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5" y="2624599"/>
            <a:ext cx="6272092" cy="9144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77783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381" y="2057400"/>
            <a:ext cx="11208619" cy="48006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C4C4C5"/>
              </a:clrFrom>
              <a:clrTo>
                <a:srgbClr val="C4C4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58702"/>
            <a:ext cx="7315200" cy="236316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Рисунок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1" name="Picture 10" descr="DP_ Primary_singleline"/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6" y="2809465"/>
            <a:ext cx="4963309" cy="9144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THANK YOU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927482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126712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564513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883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70"/>
            <a:ext cx="4116915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145403" y="1732765"/>
            <a:ext cx="4022939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744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c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572950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34716672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5464961-A40E-41AD-9F0E-027E2C11B54F}" type="slidenum">
              <a:rPr kumimoji="0"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209826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3391" y="5070328"/>
            <a:ext cx="10870108" cy="5909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18815" y="5758408"/>
            <a:ext cx="10874684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86324" y="1126998"/>
            <a:ext cx="1666328" cy="20424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7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январь 20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4876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текст картинк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817688"/>
            <a:ext cx="5365749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2" y="3078164"/>
            <a:ext cx="53530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6921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артинк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4116915" cy="3849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39882" y="1772952"/>
            <a:ext cx="6453617" cy="1977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4632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70"/>
            <a:ext cx="4116915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145403" y="1732765"/>
            <a:ext cx="4022939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59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одна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5034262" y="1729456"/>
            <a:ext cx="6435796" cy="17445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42" y="3690652"/>
            <a:ext cx="6453617" cy="18812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7820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т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58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текст в двух мес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Промышленная безопасность и охрана труда январь 2022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10763248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1" y="3122232"/>
            <a:ext cx="107505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7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145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одна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5034262" y="1729456"/>
            <a:ext cx="6435796" cy="17445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42" y="3690652"/>
            <a:ext cx="6453617" cy="18812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3417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 с заменямы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1"/>
          <p:cNvSpPr>
            <a:spLocks noGrp="1"/>
          </p:cNvSpPr>
          <p:nvPr>
            <p:ph type="pic" sz="quarter" idx="13"/>
          </p:nvPr>
        </p:nvSpPr>
        <p:spPr>
          <a:xfrm>
            <a:off x="916801" y="315913"/>
            <a:ext cx="11275199" cy="376278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8209" y="2675660"/>
            <a:ext cx="2146500" cy="714667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208883" y="4392033"/>
            <a:ext cx="8567172" cy="560968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2208883" y="5120006"/>
            <a:ext cx="3574617" cy="2159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Статус реализации проекта</a:t>
            </a:r>
            <a:endParaRPr lang="ru-RU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2208883" y="5340346"/>
            <a:ext cx="3574617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baseline="0" smtClean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дд/мм/гггг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427409" y="5980903"/>
            <a:ext cx="3576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Департамент</a:t>
            </a:r>
            <a:endParaRPr lang="ru-RU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2427409" y="6100679"/>
            <a:ext cx="3576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Город</a:t>
            </a:r>
            <a:endParaRPr lang="ru-RU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8" hasCustomPrompt="1"/>
          </p:nvPr>
        </p:nvSpPr>
        <p:spPr>
          <a:xfrm>
            <a:off x="2427411" y="6597650"/>
            <a:ext cx="144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Экз. №</a:t>
            </a:r>
          </a:p>
        </p:txBody>
      </p:sp>
      <p:cxnSp>
        <p:nvCxnSpPr>
          <p:cNvPr id="25" name="Прямая соединительная линия 24"/>
          <p:cNvCxnSpPr/>
          <p:nvPr userDrawn="1"/>
        </p:nvCxnSpPr>
        <p:spPr>
          <a:xfrm>
            <a:off x="2218457" y="5997476"/>
            <a:ext cx="0" cy="7056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1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6437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27302" y="2632249"/>
            <a:ext cx="8561917" cy="576000"/>
          </a:xfrm>
        </p:spPr>
        <p:txBody>
          <a:bodyPr anchor="t"/>
          <a:lstStyle>
            <a:lvl1pPr algn="l">
              <a:lnSpc>
                <a:spcPct val="100000"/>
              </a:lnSpc>
              <a:defRPr sz="1800" b="0" cap="none" baseline="0"/>
            </a:lvl1pPr>
          </a:lstStyle>
          <a:p>
            <a:r>
              <a:rPr lang="ru-RU" dirty="0" smtClean="0"/>
              <a:t>Название раздела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в две строки</a:t>
            </a:r>
            <a:endParaRPr lang="ru-RU" dirty="0"/>
          </a:p>
        </p:txBody>
      </p:sp>
      <p:sp>
        <p:nvSpPr>
          <p:cNvPr id="25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33622" y="3740848"/>
            <a:ext cx="5962645" cy="1332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62626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писание раздела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859859" y="2632249"/>
            <a:ext cx="478367" cy="540000"/>
          </a:xfrm>
        </p:spPr>
        <p:txBody>
          <a:bodyPr anchor="b" anchorCtr="0">
            <a:noAutofit/>
          </a:bodyPr>
          <a:lstStyle>
            <a:lvl1pPr>
              <a:defRPr sz="4200" b="1">
                <a:solidFill>
                  <a:srgbClr val="0077C8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449" y="287779"/>
            <a:ext cx="1632903" cy="71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37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5"/>
            <a:ext cx="5520000" cy="509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6288617" y="1216026"/>
            <a:ext cx="5520000" cy="50926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02765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6"/>
            <a:ext cx="3696000" cy="365313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4248000" y="1211898"/>
            <a:ext cx="3696000" cy="36572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11"/>
          <p:cNvSpPr>
            <a:spLocks noGrp="1"/>
          </p:cNvSpPr>
          <p:nvPr>
            <p:ph sz="quarter" idx="15"/>
          </p:nvPr>
        </p:nvSpPr>
        <p:spPr>
          <a:xfrm>
            <a:off x="8111035" y="1211898"/>
            <a:ext cx="3696000" cy="36572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9"/>
          <p:cNvSpPr>
            <a:spLocks noGrp="1"/>
          </p:cNvSpPr>
          <p:nvPr>
            <p:ph sz="quarter" idx="18"/>
          </p:nvPr>
        </p:nvSpPr>
        <p:spPr>
          <a:xfrm>
            <a:off x="383118" y="5013176"/>
            <a:ext cx="11423917" cy="129599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06887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1993676" y="1240528"/>
            <a:ext cx="3120000" cy="360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5327915" y="1240528"/>
            <a:ext cx="3120000" cy="360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11"/>
          <p:cNvSpPr>
            <a:spLocks noGrp="1"/>
          </p:cNvSpPr>
          <p:nvPr>
            <p:ph sz="quarter" idx="15"/>
          </p:nvPr>
        </p:nvSpPr>
        <p:spPr>
          <a:xfrm>
            <a:off x="8662153" y="1240528"/>
            <a:ext cx="3120000" cy="360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9"/>
          <p:cNvSpPr>
            <a:spLocks noGrp="1"/>
          </p:cNvSpPr>
          <p:nvPr>
            <p:ph sz="quarter" idx="18"/>
          </p:nvPr>
        </p:nvSpPr>
        <p:spPr>
          <a:xfrm>
            <a:off x="383118" y="5013176"/>
            <a:ext cx="11423917" cy="129599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9"/>
          <p:cNvSpPr>
            <a:spLocks noGrp="1"/>
          </p:cNvSpPr>
          <p:nvPr>
            <p:ph sz="quarter" idx="19"/>
          </p:nvPr>
        </p:nvSpPr>
        <p:spPr>
          <a:xfrm>
            <a:off x="382584" y="1235430"/>
            <a:ext cx="1396853" cy="360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03897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 и изображение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8" y="1216024"/>
            <a:ext cx="1142391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8" y="3789169"/>
            <a:ext cx="1142391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96667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 и изображение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8" y="1216024"/>
            <a:ext cx="11423917" cy="16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8" y="4688725"/>
            <a:ext cx="11423917" cy="16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9"/>
          <p:cNvSpPr>
            <a:spLocks noGrp="1"/>
          </p:cNvSpPr>
          <p:nvPr>
            <p:ph sz="quarter" idx="19"/>
          </p:nvPr>
        </p:nvSpPr>
        <p:spPr>
          <a:xfrm>
            <a:off x="383116" y="2952374"/>
            <a:ext cx="11423917" cy="16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6924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объекта и изображение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93431" y="1216024"/>
            <a:ext cx="8784000" cy="16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93433" y="4671010"/>
            <a:ext cx="8785225" cy="16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9"/>
          <p:cNvSpPr>
            <a:spLocks noGrp="1"/>
          </p:cNvSpPr>
          <p:nvPr>
            <p:ph sz="quarter" idx="19"/>
          </p:nvPr>
        </p:nvSpPr>
        <p:spPr>
          <a:xfrm>
            <a:off x="393432" y="2943517"/>
            <a:ext cx="8784000" cy="16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9"/>
          <p:cNvSpPr>
            <a:spLocks noGrp="1"/>
          </p:cNvSpPr>
          <p:nvPr>
            <p:ph sz="quarter" idx="20"/>
          </p:nvPr>
        </p:nvSpPr>
        <p:spPr>
          <a:xfrm>
            <a:off x="9360363" y="1216025"/>
            <a:ext cx="2446672" cy="5074986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00677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_с_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700808"/>
            <a:ext cx="5520000" cy="4608512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6287035" y="1700808"/>
            <a:ext cx="5520000" cy="4608512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83117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6287035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/>
          </p:nvPr>
        </p:nvSpPr>
        <p:spPr>
          <a:xfrm>
            <a:off x="6287035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92990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т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989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3"/>
          <p:cNvSpPr>
            <a:spLocks noGrp="1"/>
          </p:cNvSpPr>
          <p:nvPr>
            <p:ph type="pic" sz="quarter" idx="17"/>
          </p:nvPr>
        </p:nvSpPr>
        <p:spPr>
          <a:xfrm>
            <a:off x="6284654" y="1216026"/>
            <a:ext cx="5532697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6"/>
            <a:ext cx="5544000" cy="50926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6284654" y="5660724"/>
            <a:ext cx="5532697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1093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изображение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3"/>
          <p:cNvSpPr>
            <a:spLocks noGrp="1"/>
          </p:cNvSpPr>
          <p:nvPr>
            <p:ph type="pic" sz="quarter" idx="17"/>
          </p:nvPr>
        </p:nvSpPr>
        <p:spPr>
          <a:xfrm>
            <a:off x="4349729" y="1216026"/>
            <a:ext cx="7467623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8" y="1216025"/>
            <a:ext cx="3551767" cy="5094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4349728" y="5660724"/>
            <a:ext cx="7473816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2844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изображение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4"/>
            <a:ext cx="6624000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7" y="3789169"/>
            <a:ext cx="6624000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7200777" y="1216471"/>
            <a:ext cx="4608000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7200777" y="5661169"/>
            <a:ext cx="4608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3321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изображение (вертик.) с_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74651" y="1700808"/>
            <a:ext cx="6624000" cy="2035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6624000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74651" y="1655681"/>
            <a:ext cx="66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9"/>
          <p:cNvSpPr>
            <a:spLocks noGrp="1"/>
          </p:cNvSpPr>
          <p:nvPr>
            <p:ph sz="quarter" idx="18"/>
          </p:nvPr>
        </p:nvSpPr>
        <p:spPr>
          <a:xfrm>
            <a:off x="374651" y="4276245"/>
            <a:ext cx="6624000" cy="2035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Текст 16"/>
          <p:cNvSpPr>
            <a:spLocks noGrp="1"/>
          </p:cNvSpPr>
          <p:nvPr>
            <p:ph type="body" sz="quarter" idx="19"/>
          </p:nvPr>
        </p:nvSpPr>
        <p:spPr>
          <a:xfrm>
            <a:off x="374651" y="3791462"/>
            <a:ext cx="6624000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374651" y="4231118"/>
            <a:ext cx="66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Рисунок 3"/>
          <p:cNvSpPr>
            <a:spLocks noGrp="1"/>
          </p:cNvSpPr>
          <p:nvPr>
            <p:ph type="pic" sz="quarter" idx="20"/>
          </p:nvPr>
        </p:nvSpPr>
        <p:spPr>
          <a:xfrm>
            <a:off x="7200777" y="1216471"/>
            <a:ext cx="4608000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7200777" y="5661169"/>
            <a:ext cx="4608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4781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5"/>
            <a:ext cx="5520267" cy="509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7"/>
          </p:nvPr>
        </p:nvSpPr>
        <p:spPr>
          <a:xfrm>
            <a:off x="6274068" y="1216471"/>
            <a:ext cx="5544000" cy="2501554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4068" y="3070025"/>
            <a:ext cx="5544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4" name="Рисунок 3"/>
          <p:cNvSpPr>
            <a:spLocks noGrp="1"/>
          </p:cNvSpPr>
          <p:nvPr>
            <p:ph type="pic" sz="quarter" idx="18"/>
          </p:nvPr>
        </p:nvSpPr>
        <p:spPr>
          <a:xfrm>
            <a:off x="6274068" y="3807171"/>
            <a:ext cx="5544000" cy="2501554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4068" y="5660725"/>
            <a:ext cx="5544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5323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(горизон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3"/>
          <p:cNvSpPr>
            <a:spLocks noGrp="1"/>
          </p:cNvSpPr>
          <p:nvPr>
            <p:ph type="pic" sz="quarter" idx="18"/>
          </p:nvPr>
        </p:nvSpPr>
        <p:spPr>
          <a:xfrm>
            <a:off x="4992065" y="3493906"/>
            <a:ext cx="6816001" cy="2814698"/>
          </a:xfrm>
          <a:prstGeom prst="round1Rect">
            <a:avLst>
              <a:gd name="adj" fmla="val 5816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6" y="1216024"/>
            <a:ext cx="11424000" cy="2124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7"/>
          </p:nvPr>
        </p:nvSpPr>
        <p:spPr>
          <a:xfrm>
            <a:off x="374651" y="3500604"/>
            <a:ext cx="4272000" cy="2808000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74651" y="5660604"/>
            <a:ext cx="427118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992064" y="5660604"/>
            <a:ext cx="6814971" cy="648000"/>
          </a:xfrm>
          <a:prstGeom prst="round1Rect">
            <a:avLst>
              <a:gd name="adj" fmla="val 13010"/>
            </a:avLst>
          </a:pr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Подпис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7887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(горизонт.)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4000" y="1700050"/>
            <a:ext cx="11424000" cy="1639974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9"/>
          </p:nvPr>
        </p:nvSpPr>
        <p:spPr>
          <a:xfrm>
            <a:off x="383116" y="3978717"/>
            <a:ext cx="6816000" cy="2330008"/>
          </a:xfrm>
        </p:spPr>
        <p:txBody>
          <a:bodyPr/>
          <a:lstStyle/>
          <a:p>
            <a:pPr lvl="0"/>
            <a:endParaRPr lang="ru-RU"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83116" y="3934348"/>
            <a:ext cx="680365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Текст 16"/>
          <p:cNvSpPr>
            <a:spLocks noGrp="1"/>
          </p:cNvSpPr>
          <p:nvPr>
            <p:ph type="body" sz="quarter" idx="18"/>
          </p:nvPr>
        </p:nvSpPr>
        <p:spPr>
          <a:xfrm>
            <a:off x="383117" y="3494692"/>
            <a:ext cx="6814417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2" name="Текст 16"/>
          <p:cNvSpPr>
            <a:spLocks noGrp="1"/>
          </p:cNvSpPr>
          <p:nvPr>
            <p:ph type="body" sz="quarter" idx="21"/>
          </p:nvPr>
        </p:nvSpPr>
        <p:spPr>
          <a:xfrm>
            <a:off x="374650" y="1216025"/>
            <a:ext cx="1143035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7535118" y="3978717"/>
            <a:ext cx="4269885" cy="2330008"/>
          </a:xfrm>
        </p:spPr>
        <p:txBody>
          <a:bodyPr/>
          <a:lstStyle/>
          <a:p>
            <a:pPr lvl="0"/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7535117" y="3494692"/>
            <a:ext cx="4272000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23" name="Прямая соединительная линия 22"/>
          <p:cNvCxnSpPr/>
          <p:nvPr userDrawn="1"/>
        </p:nvCxnSpPr>
        <p:spPr>
          <a:xfrm>
            <a:off x="7535118" y="3934348"/>
            <a:ext cx="427159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640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изображение (горизон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6"/>
            <a:ext cx="5520267" cy="185293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9"/>
          <p:cNvSpPr>
            <a:spLocks noGrp="1"/>
          </p:cNvSpPr>
          <p:nvPr>
            <p:ph sz="quarter" idx="20"/>
          </p:nvPr>
        </p:nvSpPr>
        <p:spPr>
          <a:xfrm>
            <a:off x="6288618" y="1216026"/>
            <a:ext cx="5522381" cy="185293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Рисунок 3"/>
          <p:cNvSpPr>
            <a:spLocks noGrp="1"/>
          </p:cNvSpPr>
          <p:nvPr>
            <p:ph type="pic" sz="quarter" idx="17"/>
          </p:nvPr>
        </p:nvSpPr>
        <p:spPr>
          <a:xfrm>
            <a:off x="380250" y="3174746"/>
            <a:ext cx="11437101" cy="313385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323088 h 4427537"/>
              <a:gd name="connsiteX7" fmla="*/ 235290 w 4159527"/>
              <a:gd name="connsiteY7" fmla="*/ 0 h 4427537"/>
              <a:gd name="connsiteX0" fmla="*/ 111459 w 4160570"/>
              <a:gd name="connsiteY0" fmla="*/ 0 h 4427537"/>
              <a:gd name="connsiteX1" fmla="*/ 4155903 w 4160570"/>
              <a:gd name="connsiteY1" fmla="*/ 0 h 4427537"/>
              <a:gd name="connsiteX2" fmla="*/ 4155903 w 4160570"/>
              <a:gd name="connsiteY2" fmla="*/ 0 h 4427537"/>
              <a:gd name="connsiteX3" fmla="*/ 4160570 w 4160570"/>
              <a:gd name="connsiteY3" fmla="*/ 4423204 h 4427537"/>
              <a:gd name="connsiteX4" fmla="*/ 1043 w 4160570"/>
              <a:gd name="connsiteY4" fmla="*/ 4427537 h 4427537"/>
              <a:gd name="connsiteX5" fmla="*/ 1043 w 4160570"/>
              <a:gd name="connsiteY5" fmla="*/ 4427537 h 4427537"/>
              <a:gd name="connsiteX6" fmla="*/ 1043 w 4160570"/>
              <a:gd name="connsiteY6" fmla="*/ 323088 h 4427537"/>
              <a:gd name="connsiteX7" fmla="*/ 111459 w 4160570"/>
              <a:gd name="connsiteY7" fmla="*/ 0 h 4427537"/>
              <a:gd name="connsiteX0" fmla="*/ 111459 w 4160570"/>
              <a:gd name="connsiteY0" fmla="*/ 0 h 4427537"/>
              <a:gd name="connsiteX1" fmla="*/ 4155903 w 4160570"/>
              <a:gd name="connsiteY1" fmla="*/ 0 h 4427537"/>
              <a:gd name="connsiteX2" fmla="*/ 4155903 w 4160570"/>
              <a:gd name="connsiteY2" fmla="*/ 0 h 4427537"/>
              <a:gd name="connsiteX3" fmla="*/ 4160570 w 4160570"/>
              <a:gd name="connsiteY3" fmla="*/ 4423204 h 4427537"/>
              <a:gd name="connsiteX4" fmla="*/ 1043 w 4160570"/>
              <a:gd name="connsiteY4" fmla="*/ 4427537 h 4427537"/>
              <a:gd name="connsiteX5" fmla="*/ 1043 w 4160570"/>
              <a:gd name="connsiteY5" fmla="*/ 4427537 h 4427537"/>
              <a:gd name="connsiteX6" fmla="*/ 1043 w 4160570"/>
              <a:gd name="connsiteY6" fmla="*/ 385799 h 4427537"/>
              <a:gd name="connsiteX7" fmla="*/ 111459 w 4160570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0570" h="4427537">
                <a:moveTo>
                  <a:pt x="111459" y="0"/>
                </a:moveTo>
                <a:lnTo>
                  <a:pt x="4155903" y="0"/>
                </a:lnTo>
                <a:lnTo>
                  <a:pt x="4155903" y="0"/>
                </a:lnTo>
                <a:cubicBezTo>
                  <a:pt x="4157459" y="1474401"/>
                  <a:pt x="4159014" y="2948803"/>
                  <a:pt x="4160570" y="4423204"/>
                </a:cubicBezTo>
                <a:lnTo>
                  <a:pt x="1043" y="4427537"/>
                </a:lnTo>
                <a:lnTo>
                  <a:pt x="1043" y="4427537"/>
                </a:lnTo>
                <a:lnTo>
                  <a:pt x="1043" y="385799"/>
                </a:lnTo>
                <a:cubicBezTo>
                  <a:pt x="1043" y="255852"/>
                  <a:pt x="-18488" y="0"/>
                  <a:pt x="111459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78951" y="5660604"/>
            <a:ext cx="114384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3852 w 3720294"/>
              <a:gd name="connsiteY6" fmla="*/ 161268 h 648000"/>
              <a:gd name="connsiteX7" fmla="*/ 108002 w 3720294"/>
              <a:gd name="connsiteY7" fmla="*/ 0 h 648000"/>
              <a:gd name="connsiteX0" fmla="*/ 88741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3852 w 3720294"/>
              <a:gd name="connsiteY6" fmla="*/ 161268 h 648000"/>
              <a:gd name="connsiteX7" fmla="*/ 88741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88741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cubicBezTo>
                  <a:pt x="0" y="468001"/>
                  <a:pt x="3852" y="341267"/>
                  <a:pt x="3852" y="161268"/>
                </a:cubicBezTo>
                <a:cubicBezTo>
                  <a:pt x="3852" y="101620"/>
                  <a:pt x="29093" y="0"/>
                  <a:pt x="88741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029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4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7" y="3789320"/>
            <a:ext cx="5520267" cy="2520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Объект 9"/>
          <p:cNvSpPr>
            <a:spLocks noGrp="1"/>
          </p:cNvSpPr>
          <p:nvPr>
            <p:ph sz="quarter" idx="19"/>
          </p:nvPr>
        </p:nvSpPr>
        <p:spPr>
          <a:xfrm>
            <a:off x="6288617" y="1216024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9"/>
          <p:cNvSpPr>
            <a:spLocks noGrp="1"/>
          </p:cNvSpPr>
          <p:nvPr>
            <p:ph sz="quarter" idx="20"/>
          </p:nvPr>
        </p:nvSpPr>
        <p:spPr>
          <a:xfrm>
            <a:off x="6286768" y="3789320"/>
            <a:ext cx="5520267" cy="2520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8394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74651" y="1700050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9"/>
          <p:cNvSpPr>
            <a:spLocks noGrp="1"/>
          </p:cNvSpPr>
          <p:nvPr>
            <p:ph sz="quarter" idx="19"/>
          </p:nvPr>
        </p:nvSpPr>
        <p:spPr>
          <a:xfrm>
            <a:off x="6287035" y="1700050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374651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 userDrawn="1"/>
        </p:nvCxnSpPr>
        <p:spPr>
          <a:xfrm>
            <a:off x="6287035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6"/>
          <p:cNvSpPr>
            <a:spLocks noGrp="1"/>
          </p:cNvSpPr>
          <p:nvPr>
            <p:ph type="body" sz="quarter" idx="21"/>
          </p:nvPr>
        </p:nvSpPr>
        <p:spPr>
          <a:xfrm>
            <a:off x="6287035" y="1216025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Объект 9"/>
          <p:cNvSpPr>
            <a:spLocks noGrp="1"/>
          </p:cNvSpPr>
          <p:nvPr>
            <p:ph sz="quarter" idx="22"/>
          </p:nvPr>
        </p:nvSpPr>
        <p:spPr>
          <a:xfrm>
            <a:off x="374651" y="4272509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2" name="Объект 9"/>
          <p:cNvSpPr>
            <a:spLocks noGrp="1"/>
          </p:cNvSpPr>
          <p:nvPr>
            <p:ph sz="quarter" idx="23"/>
          </p:nvPr>
        </p:nvSpPr>
        <p:spPr>
          <a:xfrm>
            <a:off x="6287035" y="4272509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3" name="Текст 16"/>
          <p:cNvSpPr>
            <a:spLocks noGrp="1"/>
          </p:cNvSpPr>
          <p:nvPr>
            <p:ph type="body" sz="quarter" idx="24"/>
          </p:nvPr>
        </p:nvSpPr>
        <p:spPr>
          <a:xfrm>
            <a:off x="374651" y="3788484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>
          <a:xfrm>
            <a:off x="374651" y="4228140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 userDrawn="1"/>
        </p:nvCxnSpPr>
        <p:spPr>
          <a:xfrm>
            <a:off x="6287035" y="4228140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Текст 16"/>
          <p:cNvSpPr>
            <a:spLocks noGrp="1"/>
          </p:cNvSpPr>
          <p:nvPr>
            <p:ph type="body" sz="quarter" idx="25"/>
          </p:nvPr>
        </p:nvSpPr>
        <p:spPr>
          <a:xfrm>
            <a:off x="6287035" y="3788484"/>
            <a:ext cx="5528733" cy="39528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15403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текст в двух мес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Промышленная безопасность и охрана труда январь 2022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10763248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1" y="3122232"/>
            <a:ext cx="107505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7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1809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3335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704913" y="1232185"/>
            <a:ext cx="8846672" cy="6334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449" y="287779"/>
            <a:ext cx="1632903" cy="71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899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2521463" y="4358513"/>
            <a:ext cx="8034871" cy="324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  <a:defRPr sz="1800" b="1">
                <a:solidFill>
                  <a:srgbClr val="0077C8"/>
                </a:solidFill>
              </a:defRPr>
            </a:lvl1pPr>
            <a:lvl2pPr marL="625475" indent="-625475">
              <a:spcBef>
                <a:spcPts val="1800"/>
              </a:spcBef>
              <a:buFontTx/>
              <a:buBlip>
                <a:blip r:embed="rId2"/>
              </a:buBlip>
              <a:defRPr sz="2200"/>
            </a:lvl2pPr>
          </a:lstStyle>
          <a:p>
            <a:pPr lvl="0"/>
            <a:r>
              <a:rPr lang="ru-RU" dirty="0" smtClean="0"/>
              <a:t>Название филиала</a:t>
            </a:r>
          </a:p>
        </p:txBody>
      </p:sp>
      <p:sp>
        <p:nvSpPr>
          <p:cNvPr id="10" name="Рисунок 11"/>
          <p:cNvSpPr>
            <a:spLocks noGrp="1"/>
          </p:cNvSpPr>
          <p:nvPr>
            <p:ph type="pic" sz="quarter" idx="13"/>
          </p:nvPr>
        </p:nvSpPr>
        <p:spPr>
          <a:xfrm>
            <a:off x="916800" y="692150"/>
            <a:ext cx="11275200" cy="3096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2521461" y="4794041"/>
            <a:ext cx="8036472" cy="576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aseline="0"/>
            </a:lvl1pPr>
          </a:lstStyle>
          <a:p>
            <a:pPr lvl="0"/>
            <a:r>
              <a:rPr lang="ru-RU" smtClean="0"/>
              <a:t>Адрес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5" hasCustomPrompt="1"/>
          </p:nvPr>
        </p:nvSpPr>
        <p:spPr>
          <a:xfrm>
            <a:off x="3236847" y="5552157"/>
            <a:ext cx="7321087" cy="25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+7 (000) 0</a:t>
            </a:r>
            <a:r>
              <a:rPr lang="en-US" smtClean="0"/>
              <a:t>00</a:t>
            </a:r>
            <a:r>
              <a:rPr lang="ru-RU" smtClean="0"/>
              <a:t>-00-00</a:t>
            </a:r>
            <a:endParaRPr lang="ru-RU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3236847" y="5772463"/>
            <a:ext cx="7321087" cy="25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+7 (000) </a:t>
            </a:r>
            <a:r>
              <a:rPr lang="en-US" smtClean="0"/>
              <a:t>00</a:t>
            </a:r>
            <a:r>
              <a:rPr lang="ru-RU" smtClean="0"/>
              <a:t>0-00-0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6541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68000" y="0"/>
            <a:ext cx="9600000" cy="1056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rgbClr val="0077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68000" y="1152001"/>
            <a:ext cx="11040000" cy="45259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Номер слайда 44">
            <a:extLst>
              <a:ext uri="{FF2B5EF4-FFF2-40B4-BE49-F238E27FC236}">
                <a16:creationId xmlns:a16="http://schemas.microsoft.com/office/drawing/2014/main" id="{2AAAD552-03D7-45D5-9327-0E69890D3FF2}"/>
              </a:ext>
            </a:extLst>
          </p:cNvPr>
          <p:cNvSpPr txBox="1">
            <a:spLocks/>
          </p:cNvSpPr>
          <p:nvPr userDrawn="1"/>
        </p:nvSpPr>
        <p:spPr>
          <a:xfrm flipH="1">
            <a:off x="11473567" y="6090000"/>
            <a:ext cx="384000" cy="768000"/>
          </a:xfrm>
          <a:prstGeom prst="rect">
            <a:avLst/>
          </a:prstGeom>
          <a:solidFill>
            <a:srgbClr val="0077C8"/>
          </a:solidFill>
          <a:ln>
            <a:noFill/>
          </a:ln>
        </p:spPr>
        <p:txBody>
          <a:bodyPr lIns="0" rIns="0" anchor="b">
            <a:noAutofit/>
          </a:bodyPr>
          <a:lstStyle>
            <a:lvl1pPr>
              <a:defRPr>
                <a:latin typeface="Calibri"/>
                <a:ea typeface="Calibri"/>
                <a:cs typeface="Calibri"/>
                <a:sym typeface="Calibri"/>
              </a:defRPr>
            </a:lvl1pPr>
            <a:lvl2pPr indent="457200">
              <a:defRPr>
                <a:latin typeface="Calibri"/>
                <a:ea typeface="Calibri"/>
                <a:cs typeface="Calibri"/>
                <a:sym typeface="Calibri"/>
              </a:defRPr>
            </a:lvl2pPr>
            <a:lvl3pPr indent="914400">
              <a:defRPr>
                <a:latin typeface="Calibri"/>
                <a:ea typeface="Calibri"/>
                <a:cs typeface="Calibri"/>
                <a:sym typeface="Calibri"/>
              </a:defRPr>
            </a:lvl3pPr>
            <a:lvl4pPr indent="1371600">
              <a:defRPr>
                <a:latin typeface="Calibri"/>
                <a:ea typeface="Calibri"/>
                <a:cs typeface="Calibri"/>
                <a:sym typeface="Calibri"/>
              </a:defRPr>
            </a:lvl4pPr>
            <a:lvl5pPr indent="1828800">
              <a:defRPr>
                <a:latin typeface="Calibri"/>
                <a:ea typeface="Calibri"/>
                <a:cs typeface="Calibri"/>
                <a:sym typeface="Calibri"/>
              </a:defRPr>
            </a:lvl5pPr>
            <a:lvl6pPr indent="2286000">
              <a:defRPr>
                <a:latin typeface="Calibri"/>
                <a:ea typeface="Calibri"/>
                <a:cs typeface="Calibri"/>
                <a:sym typeface="Calibri"/>
              </a:defRPr>
            </a:lvl6pPr>
            <a:lvl7pPr indent="2743200">
              <a:defRPr>
                <a:latin typeface="Calibri"/>
                <a:ea typeface="Calibri"/>
                <a:cs typeface="Calibri"/>
                <a:sym typeface="Calibri"/>
              </a:defRPr>
            </a:lvl7pPr>
            <a:lvl8pPr indent="3200400">
              <a:defRPr>
                <a:latin typeface="Calibri"/>
                <a:ea typeface="Calibri"/>
                <a:cs typeface="Calibri"/>
                <a:sym typeface="Calibri"/>
              </a:defRPr>
            </a:lvl8pPr>
            <a:lvl9pPr indent="3657600"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ctr"/>
            <a:fld id="{86CB4B4D-7CA3-9044-876B-883B54F8677D}" type="slidenum">
              <a:rPr lang="ru-RU" sz="10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/>
              <a:t>‹#›</a:t>
            </a:fld>
            <a:endParaRPr lang="ru-RU" sz="1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Нижний колонтитул 6">
            <a:extLst>
              <a:ext uri="{FF2B5EF4-FFF2-40B4-BE49-F238E27FC236}">
                <a16:creationId xmlns:a16="http://schemas.microsoft.com/office/drawing/2014/main" id="{8EDACB81-B085-4D71-A1ED-7F056D400A80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-2351999" y="3429384"/>
            <a:ext cx="5280000" cy="576000"/>
          </a:xfrm>
          <a:prstGeom prst="rect">
            <a:avLst/>
          </a:prstGeom>
          <a:solidFill>
            <a:srgbClr val="0077C8"/>
          </a:solidFill>
        </p:spPr>
        <p:txBody>
          <a:bodyPr lIns="0" rIns="0" anchor="ctr"/>
          <a:lstStyle>
            <a:lvl1pPr>
              <a:defRPr>
                <a:latin typeface="Calibri"/>
                <a:ea typeface="Calibri"/>
                <a:cs typeface="Calibri"/>
                <a:sym typeface="Calibri"/>
              </a:defRPr>
            </a:lvl1pPr>
            <a:lvl2pPr indent="457200">
              <a:defRPr>
                <a:latin typeface="Calibri"/>
                <a:ea typeface="Calibri"/>
                <a:cs typeface="Calibri"/>
                <a:sym typeface="Calibri"/>
              </a:defRPr>
            </a:lvl2pPr>
            <a:lvl3pPr indent="914400">
              <a:defRPr>
                <a:latin typeface="Calibri"/>
                <a:ea typeface="Calibri"/>
                <a:cs typeface="Calibri"/>
                <a:sym typeface="Calibri"/>
              </a:defRPr>
            </a:lvl3pPr>
            <a:lvl4pPr indent="1371600">
              <a:defRPr>
                <a:latin typeface="Calibri"/>
                <a:ea typeface="Calibri"/>
                <a:cs typeface="Calibri"/>
                <a:sym typeface="Calibri"/>
              </a:defRPr>
            </a:lvl4pPr>
            <a:lvl5pPr indent="1828800">
              <a:defRPr>
                <a:latin typeface="Calibri"/>
                <a:ea typeface="Calibri"/>
                <a:cs typeface="Calibri"/>
                <a:sym typeface="Calibri"/>
              </a:defRPr>
            </a:lvl5pPr>
            <a:lvl6pPr indent="2286000">
              <a:defRPr>
                <a:latin typeface="Calibri"/>
                <a:ea typeface="Calibri"/>
                <a:cs typeface="Calibri"/>
                <a:sym typeface="Calibri"/>
              </a:defRPr>
            </a:lvl6pPr>
            <a:lvl7pPr indent="2743200">
              <a:defRPr>
                <a:latin typeface="Calibri"/>
                <a:ea typeface="Calibri"/>
                <a:cs typeface="Calibri"/>
                <a:sym typeface="Calibri"/>
              </a:defRPr>
            </a:lvl7pPr>
            <a:lvl8pPr indent="3200400">
              <a:defRPr>
                <a:latin typeface="Calibri"/>
                <a:ea typeface="Calibri"/>
                <a:cs typeface="Calibri"/>
                <a:sym typeface="Calibri"/>
              </a:defRPr>
            </a:lvl8pPr>
            <a:lvl9pPr indent="3657600">
              <a:defRPr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ctr" defTabSz="927100">
              <a:lnSpc>
                <a:spcPct val="100000"/>
              </a:lnSpc>
            </a:pPr>
            <a:r>
              <a:rPr lang="ru-RU" sz="900" b="1" spc="100" baseline="0" dirty="0">
                <a:solidFill>
                  <a:schemeClr val="bg1">
                    <a:alpha val="6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ЦЕПЦИЯ ПОДДЕРЖКИ СТРАТЕГИИ ОТ И ПБ 2025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2A55405-1518-4933-B4FD-E030135153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7567" y="376586"/>
            <a:ext cx="1440000" cy="30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8829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68275"/>
            <a:ext cx="9103360" cy="914400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LIDE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97854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1" userDrawn="1">
          <p15:clr>
            <a:srgbClr val="FBAE40"/>
          </p15:clr>
        </p15:guide>
        <p15:guide id="2" orient="horz" pos="142" userDrawn="1">
          <p15:clr>
            <a:srgbClr val="FBAE40"/>
          </p15:clr>
        </p15:guide>
        <p15:guide id="3" pos="746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с заменямым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1"/>
          <p:cNvSpPr>
            <a:spLocks noGrp="1"/>
          </p:cNvSpPr>
          <p:nvPr>
            <p:ph type="pic" sz="quarter" idx="13"/>
          </p:nvPr>
        </p:nvSpPr>
        <p:spPr>
          <a:xfrm>
            <a:off x="916801" y="315913"/>
            <a:ext cx="11275199" cy="3762789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8209" y="2675660"/>
            <a:ext cx="2146500" cy="714667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208883" y="4392033"/>
            <a:ext cx="8567172" cy="560968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2208883" y="5120006"/>
            <a:ext cx="3574617" cy="2159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Статус реализации проекта</a:t>
            </a:r>
            <a:endParaRPr lang="ru-RU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5" hasCustomPrompt="1"/>
          </p:nvPr>
        </p:nvSpPr>
        <p:spPr>
          <a:xfrm>
            <a:off x="2208883" y="5340346"/>
            <a:ext cx="3574617" cy="21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baseline="0" smtClean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дд/мм/гггг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427409" y="5980903"/>
            <a:ext cx="3576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Департамент</a:t>
            </a:r>
            <a:endParaRPr lang="ru-RU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7" hasCustomPrompt="1"/>
          </p:nvPr>
        </p:nvSpPr>
        <p:spPr>
          <a:xfrm>
            <a:off x="2427409" y="6100679"/>
            <a:ext cx="3576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Город</a:t>
            </a:r>
            <a:endParaRPr lang="ru-RU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8" hasCustomPrompt="1"/>
          </p:nvPr>
        </p:nvSpPr>
        <p:spPr>
          <a:xfrm>
            <a:off x="2427411" y="6597650"/>
            <a:ext cx="1440000" cy="108000"/>
          </a:xfrm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ru-RU" sz="800" baseline="0" smtClean="0">
                <a:solidFill>
                  <a:schemeClr val="accent5"/>
                </a:solidFill>
              </a:defRPr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Экз. №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2218457" y="5997476"/>
            <a:ext cx="0" cy="70560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826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183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27302" y="2632249"/>
            <a:ext cx="8561917" cy="576000"/>
          </a:xfrm>
        </p:spPr>
        <p:txBody>
          <a:bodyPr anchor="t"/>
          <a:lstStyle>
            <a:lvl1pPr algn="l">
              <a:lnSpc>
                <a:spcPct val="100000"/>
              </a:lnSpc>
              <a:defRPr sz="1800" b="0" cap="none" baseline="0"/>
            </a:lvl1pPr>
          </a:lstStyle>
          <a:p>
            <a:r>
              <a:rPr lang="ru-RU" dirty="0" smtClean="0"/>
              <a:t>Название раздела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в две строки</a:t>
            </a:r>
            <a:endParaRPr lang="ru-RU" dirty="0"/>
          </a:p>
        </p:txBody>
      </p:sp>
      <p:sp>
        <p:nvSpPr>
          <p:cNvPr id="25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33622" y="3740848"/>
            <a:ext cx="5962645" cy="133200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62626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писание раздела</a:t>
            </a:r>
          </a:p>
        </p:txBody>
      </p:sp>
      <p:sp>
        <p:nvSpPr>
          <p:cNvPr id="13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859859" y="2632249"/>
            <a:ext cx="478367" cy="540000"/>
          </a:xfrm>
        </p:spPr>
        <p:txBody>
          <a:bodyPr anchor="b" anchorCtr="0">
            <a:noAutofit/>
          </a:bodyPr>
          <a:lstStyle>
            <a:lvl1pPr>
              <a:defRPr sz="4200" b="1">
                <a:solidFill>
                  <a:srgbClr val="0077C8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6815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5"/>
            <a:ext cx="5520000" cy="509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6288617" y="1216026"/>
            <a:ext cx="5520000" cy="50926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61858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_с_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5528733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700808"/>
            <a:ext cx="5520000" cy="46085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6287035" y="1700808"/>
            <a:ext cx="5520000" cy="46085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7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287035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/>
          </p:nvPr>
        </p:nvSpPr>
        <p:spPr>
          <a:xfrm>
            <a:off x="6287035" y="1216025"/>
            <a:ext cx="5528733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1688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3"/>
          <p:cNvSpPr>
            <a:spLocks noGrp="1"/>
          </p:cNvSpPr>
          <p:nvPr>
            <p:ph type="pic" sz="quarter" idx="17"/>
          </p:nvPr>
        </p:nvSpPr>
        <p:spPr>
          <a:xfrm>
            <a:off x="6284654" y="1216026"/>
            <a:ext cx="5532697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6"/>
            <a:ext cx="5544000" cy="50926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6284654" y="5660724"/>
            <a:ext cx="5532697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4790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ъек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3"/>
          <p:cNvSpPr>
            <a:spLocks noGrp="1"/>
          </p:cNvSpPr>
          <p:nvPr>
            <p:ph type="pic" sz="quarter" idx="17"/>
          </p:nvPr>
        </p:nvSpPr>
        <p:spPr>
          <a:xfrm>
            <a:off x="6284654" y="1216026"/>
            <a:ext cx="5532697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6284654" y="5660724"/>
            <a:ext cx="5532697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8"/>
          </p:nvPr>
        </p:nvSpPr>
        <p:spPr>
          <a:xfrm>
            <a:off x="383117" y="1216026"/>
            <a:ext cx="5532697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383117" y="5660724"/>
            <a:ext cx="5532697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7135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изображение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3"/>
          <p:cNvSpPr>
            <a:spLocks noGrp="1"/>
          </p:cNvSpPr>
          <p:nvPr>
            <p:ph type="pic" sz="quarter" idx="17"/>
          </p:nvPr>
        </p:nvSpPr>
        <p:spPr>
          <a:xfrm>
            <a:off x="4349729" y="1216026"/>
            <a:ext cx="7467623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8" y="1216025"/>
            <a:ext cx="3551767" cy="5094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4349728" y="5660724"/>
            <a:ext cx="7473816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7056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изображение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4"/>
            <a:ext cx="6624000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7" y="3789169"/>
            <a:ext cx="6624000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/>
          </p:nvPr>
        </p:nvSpPr>
        <p:spPr>
          <a:xfrm>
            <a:off x="7200777" y="1216471"/>
            <a:ext cx="4608000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7200777" y="5661169"/>
            <a:ext cx="4608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0043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изображение (вертик.) с_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74651" y="1700808"/>
            <a:ext cx="6624000" cy="2035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6624000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74651" y="1655681"/>
            <a:ext cx="66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9"/>
          <p:cNvSpPr>
            <a:spLocks noGrp="1"/>
          </p:cNvSpPr>
          <p:nvPr>
            <p:ph sz="quarter" idx="18"/>
          </p:nvPr>
        </p:nvSpPr>
        <p:spPr>
          <a:xfrm>
            <a:off x="374651" y="4276245"/>
            <a:ext cx="6624000" cy="2035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Текст 16"/>
          <p:cNvSpPr>
            <a:spLocks noGrp="1"/>
          </p:cNvSpPr>
          <p:nvPr>
            <p:ph type="body" sz="quarter" idx="19"/>
          </p:nvPr>
        </p:nvSpPr>
        <p:spPr>
          <a:xfrm>
            <a:off x="374651" y="3791462"/>
            <a:ext cx="6624000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74651" y="4231118"/>
            <a:ext cx="66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Рисунок 3"/>
          <p:cNvSpPr>
            <a:spLocks noGrp="1"/>
          </p:cNvSpPr>
          <p:nvPr>
            <p:ph type="pic" sz="quarter" idx="20"/>
          </p:nvPr>
        </p:nvSpPr>
        <p:spPr>
          <a:xfrm>
            <a:off x="7200777" y="1216471"/>
            <a:ext cx="4608000" cy="509269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7200777" y="5661169"/>
            <a:ext cx="4608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0711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1622323"/>
            <a:ext cx="8809703" cy="32298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6" name="Рисунок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0" name="Picture 9" descr="DP_ Primary_singleline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5" y="2624599"/>
            <a:ext cx="6272092" cy="9144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49175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изображения (вертик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5"/>
            <a:ext cx="5520267" cy="5092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7"/>
          </p:nvPr>
        </p:nvSpPr>
        <p:spPr>
          <a:xfrm>
            <a:off x="6274068" y="1216471"/>
            <a:ext cx="5544000" cy="2501554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4068" y="3070025"/>
            <a:ext cx="5544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4" name="Рисунок 3"/>
          <p:cNvSpPr>
            <a:spLocks noGrp="1"/>
          </p:cNvSpPr>
          <p:nvPr>
            <p:ph type="pic" sz="quarter" idx="18"/>
          </p:nvPr>
        </p:nvSpPr>
        <p:spPr>
          <a:xfrm>
            <a:off x="6274068" y="3807171"/>
            <a:ext cx="5544000" cy="2501554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4068" y="5660725"/>
            <a:ext cx="55440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5848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изображения (горизон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3"/>
          <p:cNvSpPr>
            <a:spLocks noGrp="1"/>
          </p:cNvSpPr>
          <p:nvPr>
            <p:ph type="pic" sz="quarter" idx="18"/>
          </p:nvPr>
        </p:nvSpPr>
        <p:spPr>
          <a:xfrm>
            <a:off x="4992065" y="3493906"/>
            <a:ext cx="6816001" cy="2814698"/>
          </a:xfrm>
          <a:prstGeom prst="round1Rect">
            <a:avLst>
              <a:gd name="adj" fmla="val 5816"/>
            </a:avLst>
          </a:pr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6" y="1216024"/>
            <a:ext cx="11424000" cy="2124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7"/>
          </p:nvPr>
        </p:nvSpPr>
        <p:spPr>
          <a:xfrm>
            <a:off x="374651" y="3500604"/>
            <a:ext cx="4272000" cy="2808000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59527" h="4427537">
                <a:moveTo>
                  <a:pt x="235290" y="0"/>
                </a:moveTo>
                <a:lnTo>
                  <a:pt x="4154860" y="0"/>
                </a:lnTo>
                <a:lnTo>
                  <a:pt x="4154860" y="0"/>
                </a:lnTo>
                <a:cubicBezTo>
                  <a:pt x="4156416" y="1474401"/>
                  <a:pt x="4157971" y="2948803"/>
                  <a:pt x="4159527" y="4423204"/>
                </a:cubicBezTo>
                <a:lnTo>
                  <a:pt x="0" y="4427537"/>
                </a:lnTo>
                <a:lnTo>
                  <a:pt x="0" y="4427537"/>
                </a:lnTo>
                <a:lnTo>
                  <a:pt x="0" y="235290"/>
                </a:lnTo>
                <a:cubicBezTo>
                  <a:pt x="0" y="105343"/>
                  <a:pt x="105343" y="0"/>
                  <a:pt x="23529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74651" y="5660604"/>
            <a:ext cx="427118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108002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lnTo>
                  <a:pt x="0" y="108002"/>
                </a:lnTo>
                <a:cubicBezTo>
                  <a:pt x="0" y="48354"/>
                  <a:pt x="48354" y="0"/>
                  <a:pt x="108002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992064" y="5660604"/>
            <a:ext cx="6814971" cy="648000"/>
          </a:xfrm>
          <a:prstGeom prst="round1Rect">
            <a:avLst>
              <a:gd name="adj" fmla="val 13010"/>
            </a:avLst>
          </a:pr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Подпис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6900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изображения (горизонт.)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4000" y="1700050"/>
            <a:ext cx="11424000" cy="1639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9"/>
          </p:nvPr>
        </p:nvSpPr>
        <p:spPr>
          <a:xfrm>
            <a:off x="383116" y="3978717"/>
            <a:ext cx="6816000" cy="23300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83116" y="3934348"/>
            <a:ext cx="680365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Текст 16"/>
          <p:cNvSpPr>
            <a:spLocks noGrp="1"/>
          </p:cNvSpPr>
          <p:nvPr>
            <p:ph type="body" sz="quarter" idx="18"/>
          </p:nvPr>
        </p:nvSpPr>
        <p:spPr>
          <a:xfrm>
            <a:off x="383117" y="3494692"/>
            <a:ext cx="6814417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16"/>
          <p:cNvSpPr>
            <a:spLocks noGrp="1"/>
          </p:cNvSpPr>
          <p:nvPr>
            <p:ph type="body" sz="quarter" idx="21"/>
          </p:nvPr>
        </p:nvSpPr>
        <p:spPr>
          <a:xfrm>
            <a:off x="374650" y="1216025"/>
            <a:ext cx="11430353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7535118" y="3978717"/>
            <a:ext cx="4269885" cy="23300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7535117" y="3494692"/>
            <a:ext cx="4272000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7535118" y="3934348"/>
            <a:ext cx="427159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1655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ъект и два изображения (горизонт.)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4000" y="1700050"/>
            <a:ext cx="11424000" cy="1639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9"/>
          </p:nvPr>
        </p:nvSpPr>
        <p:spPr>
          <a:xfrm>
            <a:off x="5000087" y="3980388"/>
            <a:ext cx="6816000" cy="23300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5013698" y="3933319"/>
            <a:ext cx="680365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Текст 16"/>
          <p:cNvSpPr>
            <a:spLocks noGrp="1"/>
          </p:cNvSpPr>
          <p:nvPr>
            <p:ph type="body" sz="quarter" idx="18"/>
          </p:nvPr>
        </p:nvSpPr>
        <p:spPr>
          <a:xfrm>
            <a:off x="5001670" y="3489839"/>
            <a:ext cx="6814417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16"/>
          <p:cNvSpPr>
            <a:spLocks noGrp="1"/>
          </p:cNvSpPr>
          <p:nvPr>
            <p:ph type="body" sz="quarter" idx="21"/>
          </p:nvPr>
        </p:nvSpPr>
        <p:spPr>
          <a:xfrm>
            <a:off x="374650" y="1216025"/>
            <a:ext cx="11430353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386179" y="3978717"/>
            <a:ext cx="4269885" cy="233000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386179" y="3494692"/>
            <a:ext cx="4272000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86180" y="3934348"/>
            <a:ext cx="427159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544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изображение (горизон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6"/>
            <a:ext cx="5520267" cy="185293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9"/>
          <p:cNvSpPr>
            <a:spLocks noGrp="1"/>
          </p:cNvSpPr>
          <p:nvPr>
            <p:ph sz="quarter" idx="20"/>
          </p:nvPr>
        </p:nvSpPr>
        <p:spPr>
          <a:xfrm>
            <a:off x="6288618" y="1216026"/>
            <a:ext cx="5522381" cy="185293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Рисунок 3"/>
          <p:cNvSpPr>
            <a:spLocks noGrp="1"/>
          </p:cNvSpPr>
          <p:nvPr>
            <p:ph type="pic" sz="quarter" idx="17"/>
          </p:nvPr>
        </p:nvSpPr>
        <p:spPr>
          <a:xfrm>
            <a:off x="380250" y="3174746"/>
            <a:ext cx="11437101" cy="3133859"/>
          </a:xfrm>
          <a:custGeom>
            <a:avLst/>
            <a:gdLst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54860 w 4154860"/>
              <a:gd name="connsiteY3" fmla="*/ 4192247 h 4427537"/>
              <a:gd name="connsiteX4" fmla="*/ 391957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4427537 h 4427537"/>
              <a:gd name="connsiteX7" fmla="*/ 0 w 4154860"/>
              <a:gd name="connsiteY7" fmla="*/ 235290 h 4427537"/>
              <a:gd name="connsiteX8" fmla="*/ 235290 w 4154860"/>
              <a:gd name="connsiteY8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3919570 w 4154860"/>
              <a:gd name="connsiteY3" fmla="*/ 4427537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4860"/>
              <a:gd name="connsiteY0" fmla="*/ 0 h 4427537"/>
              <a:gd name="connsiteX1" fmla="*/ 4154860 w 4154860"/>
              <a:gd name="connsiteY1" fmla="*/ 0 h 4427537"/>
              <a:gd name="connsiteX2" fmla="*/ 4154860 w 4154860"/>
              <a:gd name="connsiteY2" fmla="*/ 0 h 4427537"/>
              <a:gd name="connsiteX3" fmla="*/ 4149253 w 4154860"/>
              <a:gd name="connsiteY3" fmla="*/ 4423204 h 4427537"/>
              <a:gd name="connsiteX4" fmla="*/ 0 w 4154860"/>
              <a:gd name="connsiteY4" fmla="*/ 4427537 h 4427537"/>
              <a:gd name="connsiteX5" fmla="*/ 0 w 4154860"/>
              <a:gd name="connsiteY5" fmla="*/ 4427537 h 4427537"/>
              <a:gd name="connsiteX6" fmla="*/ 0 w 4154860"/>
              <a:gd name="connsiteY6" fmla="*/ 235290 h 4427537"/>
              <a:gd name="connsiteX7" fmla="*/ 235290 w 4154860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235290 h 4427537"/>
              <a:gd name="connsiteX7" fmla="*/ 235290 w 4159527"/>
              <a:gd name="connsiteY7" fmla="*/ 0 h 4427537"/>
              <a:gd name="connsiteX0" fmla="*/ 235290 w 4159527"/>
              <a:gd name="connsiteY0" fmla="*/ 0 h 4427537"/>
              <a:gd name="connsiteX1" fmla="*/ 4154860 w 4159527"/>
              <a:gd name="connsiteY1" fmla="*/ 0 h 4427537"/>
              <a:gd name="connsiteX2" fmla="*/ 4154860 w 4159527"/>
              <a:gd name="connsiteY2" fmla="*/ 0 h 4427537"/>
              <a:gd name="connsiteX3" fmla="*/ 4159527 w 4159527"/>
              <a:gd name="connsiteY3" fmla="*/ 4423204 h 4427537"/>
              <a:gd name="connsiteX4" fmla="*/ 0 w 4159527"/>
              <a:gd name="connsiteY4" fmla="*/ 4427537 h 4427537"/>
              <a:gd name="connsiteX5" fmla="*/ 0 w 4159527"/>
              <a:gd name="connsiteY5" fmla="*/ 4427537 h 4427537"/>
              <a:gd name="connsiteX6" fmla="*/ 0 w 4159527"/>
              <a:gd name="connsiteY6" fmla="*/ 323088 h 4427537"/>
              <a:gd name="connsiteX7" fmla="*/ 235290 w 4159527"/>
              <a:gd name="connsiteY7" fmla="*/ 0 h 4427537"/>
              <a:gd name="connsiteX0" fmla="*/ 111459 w 4160570"/>
              <a:gd name="connsiteY0" fmla="*/ 0 h 4427537"/>
              <a:gd name="connsiteX1" fmla="*/ 4155903 w 4160570"/>
              <a:gd name="connsiteY1" fmla="*/ 0 h 4427537"/>
              <a:gd name="connsiteX2" fmla="*/ 4155903 w 4160570"/>
              <a:gd name="connsiteY2" fmla="*/ 0 h 4427537"/>
              <a:gd name="connsiteX3" fmla="*/ 4160570 w 4160570"/>
              <a:gd name="connsiteY3" fmla="*/ 4423204 h 4427537"/>
              <a:gd name="connsiteX4" fmla="*/ 1043 w 4160570"/>
              <a:gd name="connsiteY4" fmla="*/ 4427537 h 4427537"/>
              <a:gd name="connsiteX5" fmla="*/ 1043 w 4160570"/>
              <a:gd name="connsiteY5" fmla="*/ 4427537 h 4427537"/>
              <a:gd name="connsiteX6" fmla="*/ 1043 w 4160570"/>
              <a:gd name="connsiteY6" fmla="*/ 323088 h 4427537"/>
              <a:gd name="connsiteX7" fmla="*/ 111459 w 4160570"/>
              <a:gd name="connsiteY7" fmla="*/ 0 h 4427537"/>
              <a:gd name="connsiteX0" fmla="*/ 111459 w 4160570"/>
              <a:gd name="connsiteY0" fmla="*/ 0 h 4427537"/>
              <a:gd name="connsiteX1" fmla="*/ 4155903 w 4160570"/>
              <a:gd name="connsiteY1" fmla="*/ 0 h 4427537"/>
              <a:gd name="connsiteX2" fmla="*/ 4155903 w 4160570"/>
              <a:gd name="connsiteY2" fmla="*/ 0 h 4427537"/>
              <a:gd name="connsiteX3" fmla="*/ 4160570 w 4160570"/>
              <a:gd name="connsiteY3" fmla="*/ 4423204 h 4427537"/>
              <a:gd name="connsiteX4" fmla="*/ 1043 w 4160570"/>
              <a:gd name="connsiteY4" fmla="*/ 4427537 h 4427537"/>
              <a:gd name="connsiteX5" fmla="*/ 1043 w 4160570"/>
              <a:gd name="connsiteY5" fmla="*/ 4427537 h 4427537"/>
              <a:gd name="connsiteX6" fmla="*/ 1043 w 4160570"/>
              <a:gd name="connsiteY6" fmla="*/ 385799 h 4427537"/>
              <a:gd name="connsiteX7" fmla="*/ 111459 w 4160570"/>
              <a:gd name="connsiteY7" fmla="*/ 0 h 4427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60570" h="4427537">
                <a:moveTo>
                  <a:pt x="111459" y="0"/>
                </a:moveTo>
                <a:lnTo>
                  <a:pt x="4155903" y="0"/>
                </a:lnTo>
                <a:lnTo>
                  <a:pt x="4155903" y="0"/>
                </a:lnTo>
                <a:cubicBezTo>
                  <a:pt x="4157459" y="1474401"/>
                  <a:pt x="4159014" y="2948803"/>
                  <a:pt x="4160570" y="4423204"/>
                </a:cubicBezTo>
                <a:lnTo>
                  <a:pt x="1043" y="4427537"/>
                </a:lnTo>
                <a:lnTo>
                  <a:pt x="1043" y="4427537"/>
                </a:lnTo>
                <a:lnTo>
                  <a:pt x="1043" y="385799"/>
                </a:lnTo>
                <a:cubicBezTo>
                  <a:pt x="1043" y="255852"/>
                  <a:pt x="-18488" y="0"/>
                  <a:pt x="111459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78951" y="5660604"/>
            <a:ext cx="11438400" cy="648000"/>
          </a:xfrm>
          <a:custGeom>
            <a:avLst/>
            <a:gdLst>
              <a:gd name="connsiteX0" fmla="*/ 108002 w 3720294"/>
              <a:gd name="connsiteY0" fmla="*/ 0 h 648000"/>
              <a:gd name="connsiteX1" fmla="*/ 3612292 w 3720294"/>
              <a:gd name="connsiteY1" fmla="*/ 0 h 648000"/>
              <a:gd name="connsiteX2" fmla="*/ 3720294 w 3720294"/>
              <a:gd name="connsiteY2" fmla="*/ 108002 h 648000"/>
              <a:gd name="connsiteX3" fmla="*/ 3720294 w 3720294"/>
              <a:gd name="connsiteY3" fmla="*/ 648000 h 648000"/>
              <a:gd name="connsiteX4" fmla="*/ 3720294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648000 h 648000"/>
              <a:gd name="connsiteX7" fmla="*/ 0 w 3720294"/>
              <a:gd name="connsiteY7" fmla="*/ 108002 h 648000"/>
              <a:gd name="connsiteX8" fmla="*/ 108002 w 3720294"/>
              <a:gd name="connsiteY8" fmla="*/ 0 h 648000"/>
              <a:gd name="connsiteX0" fmla="*/ 108002 w 3720294"/>
              <a:gd name="connsiteY0" fmla="*/ 0 h 648000"/>
              <a:gd name="connsiteX1" fmla="*/ 3720294 w 3720294"/>
              <a:gd name="connsiteY1" fmla="*/ 108002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5270 w 3720294"/>
              <a:gd name="connsiteY1" fmla="*/ 12543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777"/>
              <a:gd name="connsiteY0" fmla="*/ 0 h 648000"/>
              <a:gd name="connsiteX1" fmla="*/ 3720294 w 3720777"/>
              <a:gd name="connsiteY1" fmla="*/ 12543 h 648000"/>
              <a:gd name="connsiteX2" fmla="*/ 3720294 w 3720777"/>
              <a:gd name="connsiteY2" fmla="*/ 648000 h 648000"/>
              <a:gd name="connsiteX3" fmla="*/ 3720294 w 3720777"/>
              <a:gd name="connsiteY3" fmla="*/ 648000 h 648000"/>
              <a:gd name="connsiteX4" fmla="*/ 0 w 3720777"/>
              <a:gd name="connsiteY4" fmla="*/ 648000 h 648000"/>
              <a:gd name="connsiteX5" fmla="*/ 0 w 3720777"/>
              <a:gd name="connsiteY5" fmla="*/ 648000 h 648000"/>
              <a:gd name="connsiteX6" fmla="*/ 0 w 3720777"/>
              <a:gd name="connsiteY6" fmla="*/ 108002 h 648000"/>
              <a:gd name="connsiteX7" fmla="*/ 108002 w 3720777"/>
              <a:gd name="connsiteY7" fmla="*/ 0 h 648000"/>
              <a:gd name="connsiteX0" fmla="*/ 108002 w 3720294"/>
              <a:gd name="connsiteY0" fmla="*/ 0 h 648000"/>
              <a:gd name="connsiteX1" fmla="*/ 3710703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3900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0 w 3720294"/>
              <a:gd name="connsiteY6" fmla="*/ 108002 h 648000"/>
              <a:gd name="connsiteX7" fmla="*/ 108002 w 3720294"/>
              <a:gd name="connsiteY7" fmla="*/ 0 h 648000"/>
              <a:gd name="connsiteX0" fmla="*/ 108002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3852 w 3720294"/>
              <a:gd name="connsiteY6" fmla="*/ 161268 h 648000"/>
              <a:gd name="connsiteX7" fmla="*/ 108002 w 3720294"/>
              <a:gd name="connsiteY7" fmla="*/ 0 h 648000"/>
              <a:gd name="connsiteX0" fmla="*/ 88741 w 3720294"/>
              <a:gd name="connsiteY0" fmla="*/ 0 h 648000"/>
              <a:gd name="connsiteX1" fmla="*/ 3717097 w 3720294"/>
              <a:gd name="connsiteY1" fmla="*/ 2951 h 648000"/>
              <a:gd name="connsiteX2" fmla="*/ 3720294 w 3720294"/>
              <a:gd name="connsiteY2" fmla="*/ 648000 h 648000"/>
              <a:gd name="connsiteX3" fmla="*/ 3720294 w 3720294"/>
              <a:gd name="connsiteY3" fmla="*/ 648000 h 648000"/>
              <a:gd name="connsiteX4" fmla="*/ 0 w 3720294"/>
              <a:gd name="connsiteY4" fmla="*/ 648000 h 648000"/>
              <a:gd name="connsiteX5" fmla="*/ 0 w 3720294"/>
              <a:gd name="connsiteY5" fmla="*/ 648000 h 648000"/>
              <a:gd name="connsiteX6" fmla="*/ 3852 w 3720294"/>
              <a:gd name="connsiteY6" fmla="*/ 161268 h 648000"/>
              <a:gd name="connsiteX7" fmla="*/ 88741 w 3720294"/>
              <a:gd name="connsiteY7" fmla="*/ 0 h 6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20294" h="648000">
                <a:moveTo>
                  <a:pt x="88741" y="0"/>
                </a:moveTo>
                <a:lnTo>
                  <a:pt x="3717097" y="2951"/>
                </a:lnTo>
                <a:cubicBezTo>
                  <a:pt x="3718772" y="214770"/>
                  <a:pt x="3718619" y="436181"/>
                  <a:pt x="3720294" y="648000"/>
                </a:cubicBezTo>
                <a:lnTo>
                  <a:pt x="3720294" y="648000"/>
                </a:lnTo>
                <a:lnTo>
                  <a:pt x="0" y="648000"/>
                </a:lnTo>
                <a:lnTo>
                  <a:pt x="0" y="648000"/>
                </a:lnTo>
                <a:cubicBezTo>
                  <a:pt x="0" y="468001"/>
                  <a:pt x="3852" y="341267"/>
                  <a:pt x="3852" y="161268"/>
                </a:cubicBezTo>
                <a:cubicBezTo>
                  <a:pt x="3852" y="101620"/>
                  <a:pt x="29093" y="0"/>
                  <a:pt x="88741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52000" tIns="90000" rIns="252000" bIns="9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пис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9337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83117" y="1216024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9"/>
          <p:cNvSpPr>
            <a:spLocks noGrp="1"/>
          </p:cNvSpPr>
          <p:nvPr>
            <p:ph sz="quarter" idx="18"/>
          </p:nvPr>
        </p:nvSpPr>
        <p:spPr>
          <a:xfrm>
            <a:off x="383117" y="3789320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9"/>
          <p:cNvSpPr>
            <a:spLocks noGrp="1"/>
          </p:cNvSpPr>
          <p:nvPr>
            <p:ph sz="quarter" idx="19"/>
          </p:nvPr>
        </p:nvSpPr>
        <p:spPr>
          <a:xfrm>
            <a:off x="6288617" y="1216024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9"/>
          <p:cNvSpPr>
            <a:spLocks noGrp="1"/>
          </p:cNvSpPr>
          <p:nvPr>
            <p:ph sz="quarter" idx="20"/>
          </p:nvPr>
        </p:nvSpPr>
        <p:spPr>
          <a:xfrm>
            <a:off x="6286768" y="3789320"/>
            <a:ext cx="5520267" cy="2520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98162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374651" y="1700050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9"/>
          <p:cNvSpPr>
            <a:spLocks noGrp="1"/>
          </p:cNvSpPr>
          <p:nvPr>
            <p:ph sz="quarter" idx="19"/>
          </p:nvPr>
        </p:nvSpPr>
        <p:spPr>
          <a:xfrm>
            <a:off x="6287035" y="1700050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7"/>
          </p:nvPr>
        </p:nvSpPr>
        <p:spPr>
          <a:xfrm>
            <a:off x="374651" y="1216025"/>
            <a:ext cx="5528733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374651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6287035" y="1655681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Текст 16"/>
          <p:cNvSpPr>
            <a:spLocks noGrp="1"/>
          </p:cNvSpPr>
          <p:nvPr>
            <p:ph type="body" sz="quarter" idx="21"/>
          </p:nvPr>
        </p:nvSpPr>
        <p:spPr>
          <a:xfrm>
            <a:off x="6287035" y="1216025"/>
            <a:ext cx="5528733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Объект 9"/>
          <p:cNvSpPr>
            <a:spLocks noGrp="1"/>
          </p:cNvSpPr>
          <p:nvPr>
            <p:ph sz="quarter" idx="22"/>
          </p:nvPr>
        </p:nvSpPr>
        <p:spPr>
          <a:xfrm>
            <a:off x="374651" y="4272509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2" name="Объект 9"/>
          <p:cNvSpPr>
            <a:spLocks noGrp="1"/>
          </p:cNvSpPr>
          <p:nvPr>
            <p:ph sz="quarter" idx="23"/>
          </p:nvPr>
        </p:nvSpPr>
        <p:spPr>
          <a:xfrm>
            <a:off x="6287035" y="4272509"/>
            <a:ext cx="5520267" cy="20359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3" name="Текст 16"/>
          <p:cNvSpPr>
            <a:spLocks noGrp="1"/>
          </p:cNvSpPr>
          <p:nvPr>
            <p:ph type="body" sz="quarter" idx="24"/>
          </p:nvPr>
        </p:nvSpPr>
        <p:spPr>
          <a:xfrm>
            <a:off x="374651" y="3788484"/>
            <a:ext cx="5528733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74651" y="4228140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6287035" y="4228140"/>
            <a:ext cx="5520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Текст 16"/>
          <p:cNvSpPr>
            <a:spLocks noGrp="1"/>
          </p:cNvSpPr>
          <p:nvPr>
            <p:ph type="body" sz="quarter" idx="25"/>
          </p:nvPr>
        </p:nvSpPr>
        <p:spPr>
          <a:xfrm>
            <a:off x="6287035" y="3788484"/>
            <a:ext cx="5528733" cy="395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86044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EBC907-F46C-43DB-891C-FAF67FA871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8054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704913" y="1232185"/>
            <a:ext cx="8846672" cy="63341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Содержание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449" y="287779"/>
            <a:ext cx="1632903" cy="710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13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2521463" y="4358513"/>
            <a:ext cx="8034871" cy="3240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  <a:defRPr sz="1800" b="1">
                <a:solidFill>
                  <a:srgbClr val="0077C8"/>
                </a:solidFill>
              </a:defRPr>
            </a:lvl1pPr>
            <a:lvl2pPr marL="625475" indent="-625475">
              <a:spcBef>
                <a:spcPts val="1800"/>
              </a:spcBef>
              <a:buFontTx/>
              <a:buBlip>
                <a:blip r:embed="rId2"/>
              </a:buBlip>
              <a:defRPr sz="2200"/>
            </a:lvl2pPr>
          </a:lstStyle>
          <a:p>
            <a:pPr lvl="0"/>
            <a:r>
              <a:rPr lang="ru-RU" dirty="0" smtClean="0"/>
              <a:t>Название филиала</a:t>
            </a:r>
          </a:p>
        </p:txBody>
      </p:sp>
      <p:sp>
        <p:nvSpPr>
          <p:cNvPr id="10" name="Рисунок 11"/>
          <p:cNvSpPr>
            <a:spLocks noGrp="1"/>
          </p:cNvSpPr>
          <p:nvPr>
            <p:ph type="pic" sz="quarter" idx="13"/>
          </p:nvPr>
        </p:nvSpPr>
        <p:spPr>
          <a:xfrm>
            <a:off x="916800" y="692150"/>
            <a:ext cx="11275200" cy="3096000"/>
          </a:xfrm>
          <a:prstGeom prst="rect">
            <a:avLst/>
          </a:prstGeom>
          <a:ln>
            <a:noFill/>
          </a:ln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2521461" y="4794041"/>
            <a:ext cx="8036472" cy="576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800" baseline="0"/>
            </a:lvl1pPr>
          </a:lstStyle>
          <a:p>
            <a:pPr lvl="0"/>
            <a:r>
              <a:rPr lang="ru-RU" smtClean="0"/>
              <a:t>Адрес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5" hasCustomPrompt="1"/>
          </p:nvPr>
        </p:nvSpPr>
        <p:spPr>
          <a:xfrm>
            <a:off x="3236847" y="5552157"/>
            <a:ext cx="7321087" cy="25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+7 (000) 0</a:t>
            </a:r>
            <a:r>
              <a:rPr lang="en-US" smtClean="0"/>
              <a:t>00</a:t>
            </a:r>
            <a:r>
              <a:rPr lang="ru-RU" smtClean="0"/>
              <a:t>-00-00</a:t>
            </a:r>
            <a:endParaRPr lang="ru-RU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3236847" y="5772463"/>
            <a:ext cx="7321087" cy="25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>
                <a:solidFill>
                  <a:schemeClr val="accent5"/>
                </a:solidFill>
              </a:defRPr>
            </a:lvl1pPr>
          </a:lstStyle>
          <a:p>
            <a:pPr lvl="0"/>
            <a:r>
              <a:rPr lang="ru-RU" smtClean="0"/>
              <a:t>+7 (000) </a:t>
            </a:r>
            <a:r>
              <a:rPr lang="en-US" smtClean="0"/>
              <a:t>00</a:t>
            </a:r>
            <a:r>
              <a:rPr lang="ru-RU" smtClean="0"/>
              <a:t>0-00-0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3282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381" y="2057400"/>
            <a:ext cx="11208619" cy="48006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C4C4C5"/>
              </a:clrFrom>
              <a:clrTo>
                <a:srgbClr val="C4C4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58702"/>
            <a:ext cx="7315200" cy="236316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Рисунок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1" name="Picture 10" descr="DP_ Primary_singleline"/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6" y="2809465"/>
            <a:ext cx="4963309" cy="9144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THANK YOU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36495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2" descr="C:\Users\AyzikovIS\Desktop\ДЗПА\Photo\Russia Polar Division ZF\--33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501548"/>
            <a:ext cx="10639100" cy="325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Рисунок 1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286324" y="1260348"/>
            <a:ext cx="1669701" cy="244603"/>
          </a:xfrm>
          <a:prstGeom prst="rect">
            <a:avLst/>
          </a:prstGeom>
        </p:spPr>
        <p:txBody>
          <a:bodyPr anchor="ctr" anchorCtr="0"/>
          <a:lstStyle>
            <a:lvl1pPr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5027358"/>
            <a:ext cx="10080000" cy="914400"/>
          </a:xfrm>
          <a:prstGeom prst="rect">
            <a:avLst/>
          </a:prstGeom>
        </p:spPr>
        <p:txBody>
          <a:bodyPr anchor="t" anchorCtr="0"/>
          <a:lstStyle>
            <a:lvl1pPr>
              <a:defRPr sz="300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8" name="Рисунок 1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56" name="Picture 55" descr="DP_ Primary_singleline"/>
          <p:cNvPicPr/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8799" y="6074410"/>
            <a:ext cx="10080000" cy="585470"/>
          </a:xfrm>
          <a:prstGeom prst="rect">
            <a:avLst/>
          </a:prstGeom>
        </p:spPr>
        <p:txBody>
          <a:bodyPr/>
          <a:lstStyle>
            <a:lvl1pPr>
              <a:defRPr sz="1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35837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68275"/>
            <a:ext cx="9103360" cy="914400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LIDE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65176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1" userDrawn="1">
          <p15:clr>
            <a:srgbClr val="FBAE40"/>
          </p15:clr>
        </p15:guide>
        <p15:guide id="2" orient="horz" pos="142" userDrawn="1">
          <p15:clr>
            <a:srgbClr val="FBAE40"/>
          </p15:clr>
        </p15:guide>
        <p15:guide id="3" pos="7529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1622323"/>
            <a:ext cx="8809703" cy="32298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6" name="Рисунок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0" name="Picture 9" descr="DP_ Primary_singleline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5" y="2624599"/>
            <a:ext cx="6272092" cy="9144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62226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381" y="2057400"/>
            <a:ext cx="11208619" cy="48006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C4C4C5"/>
              </a:clrFrom>
              <a:clrTo>
                <a:srgbClr val="C4C4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58702"/>
            <a:ext cx="7315200" cy="236316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Рисунок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1" name="Picture 10" descr="DP_ Primary_singleline"/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6" y="2809465"/>
            <a:ext cx="4963309" cy="9144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THANK YOU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92873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55142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28407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55880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c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14526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78256294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5464961-A40E-41AD-9F0E-027E2C11B54F}" type="slidenum">
              <a:rPr kumimoji="0"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7650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84802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3391" y="5070328"/>
            <a:ext cx="10870108" cy="5909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18815" y="5758408"/>
            <a:ext cx="10874684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86324" y="1126998"/>
            <a:ext cx="1666328" cy="20424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7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январь 20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40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текст картинк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817688"/>
            <a:ext cx="5365749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2" y="3078164"/>
            <a:ext cx="53530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1332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артинк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4116915" cy="3849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39882" y="1772952"/>
            <a:ext cx="6453617" cy="1977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3439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70"/>
            <a:ext cx="4116915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145403" y="1732765"/>
            <a:ext cx="4022939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6169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одна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5034262" y="1729456"/>
            <a:ext cx="6435796" cy="17445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42" y="3690652"/>
            <a:ext cx="6453617" cy="18812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7900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т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505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текст в двух мес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ru-RU" smtClean="0"/>
              <a:t>Промышленная безопасность и охрана труда январь 2022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A6B06EC4-1553-4EEC-8AFC-5F451267173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10763248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1" y="3122232"/>
            <a:ext cx="107505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7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8318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88733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39" userDrawn="1">
          <p15:clr>
            <a:srgbClr val="CCCCCC"/>
          </p15:clr>
        </p15:guide>
        <p15:guide id="2" pos="2300" userDrawn="1">
          <p15:clr>
            <a:srgbClr val="CCCCCC"/>
          </p15:clr>
        </p15:guide>
        <p15:guide id="3" pos="2753" userDrawn="1">
          <p15:clr>
            <a:srgbClr val="CCCCCC"/>
          </p15:clr>
        </p15:guide>
        <p15:guide id="4" pos="4915" userDrawn="1">
          <p15:clr>
            <a:srgbClr val="CCCCCC"/>
          </p15:clr>
        </p15:guide>
        <p15:guide id="5" pos="5369" userDrawn="1">
          <p15:clr>
            <a:srgbClr val="CCCCCC"/>
          </p15:clr>
        </p15:guide>
        <p15:guide id="6" pos="7531" userDrawn="1">
          <p15:clr>
            <a:srgbClr val="CCCCCC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2" descr="C:\Users\AyzikovIS\Desktop\ДЗПА\Photo\Russia Polar Division ZF\--33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501548"/>
            <a:ext cx="10639100" cy="325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Рисунок 1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286324" y="1260348"/>
            <a:ext cx="1669701" cy="244603"/>
          </a:xfrm>
          <a:prstGeom prst="rect">
            <a:avLst/>
          </a:prstGeom>
        </p:spPr>
        <p:txBody>
          <a:bodyPr anchor="ctr" anchorCtr="0"/>
          <a:lstStyle>
            <a:lvl1pPr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5027358"/>
            <a:ext cx="10080000" cy="914400"/>
          </a:xfrm>
          <a:prstGeom prst="rect">
            <a:avLst/>
          </a:prstGeom>
        </p:spPr>
        <p:txBody>
          <a:bodyPr anchor="t" anchorCtr="0"/>
          <a:lstStyle>
            <a:lvl1pPr>
              <a:defRPr sz="300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8" name="Рисунок 1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56" name="Picture 55" descr="DP_ Primary_singleline"/>
          <p:cNvPicPr/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8799" y="6074410"/>
            <a:ext cx="10080000" cy="585470"/>
          </a:xfrm>
          <a:prstGeom prst="rect">
            <a:avLst/>
          </a:prstGeom>
        </p:spPr>
        <p:txBody>
          <a:bodyPr/>
          <a:lstStyle>
            <a:lvl1pPr>
              <a:defRPr sz="1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1518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68275"/>
            <a:ext cx="9103360" cy="914400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LIDE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811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1" userDrawn="1">
          <p15:clr>
            <a:srgbClr val="FBAE40"/>
          </p15:clr>
        </p15:guide>
        <p15:guide id="2" orient="horz" pos="142" userDrawn="1">
          <p15:clr>
            <a:srgbClr val="FBAE40"/>
          </p15:clr>
        </p15:guide>
        <p15:guide id="3" pos="746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891095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1622323"/>
            <a:ext cx="8809703" cy="32298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6" name="Рисунок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0" name="Picture 9" descr="DP_ Primary_singleline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5" y="2624599"/>
            <a:ext cx="6272092" cy="9144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8784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381" y="2057400"/>
            <a:ext cx="11208619" cy="48006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C4C4C5"/>
              </a:clrFrom>
              <a:clrTo>
                <a:srgbClr val="C4C4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58702"/>
            <a:ext cx="7315200" cy="236316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Рисунок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1" name="Picture 10" descr="DP_ Primary_singleline"/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6" y="2809465"/>
            <a:ext cx="4963309" cy="9144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THANK YOU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93016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56486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32555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67710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c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5626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8352721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5464961-A40E-41AD-9F0E-027E2C11B54F}" type="slidenum">
              <a:rPr kumimoji="0"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084356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3391" y="5070328"/>
            <a:ext cx="10870108" cy="5909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18815" y="5758408"/>
            <a:ext cx="10874684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86324" y="1126998"/>
            <a:ext cx="1666328" cy="20424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7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январь 20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1330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текст картинк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817688"/>
            <a:ext cx="5365749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2" y="3078164"/>
            <a:ext cx="53530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3750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4508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артинк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4116915" cy="3849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39882" y="1772952"/>
            <a:ext cx="6453617" cy="1977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1428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70"/>
            <a:ext cx="4116915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145403" y="1732765"/>
            <a:ext cx="4022939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4775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одна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5034262" y="1729456"/>
            <a:ext cx="6435796" cy="17445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42" y="3690652"/>
            <a:ext cx="6453617" cy="18812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5085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т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26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текст в двух мес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Промышленная безопасность и охрана труда январь 2022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10763248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1" y="3122232"/>
            <a:ext cx="107505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7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177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2" descr="C:\Users\AyzikovIS\Desktop\ДЗПА\Photo\Russia Polar Division ZF\--33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501548"/>
            <a:ext cx="10639100" cy="325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Рисунок 1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286324" y="1260348"/>
            <a:ext cx="1669701" cy="244603"/>
          </a:xfrm>
          <a:prstGeom prst="rect">
            <a:avLst/>
          </a:prstGeom>
        </p:spPr>
        <p:txBody>
          <a:bodyPr anchor="ctr" anchorCtr="0"/>
          <a:lstStyle>
            <a:lvl1pPr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5027358"/>
            <a:ext cx="10080000" cy="914400"/>
          </a:xfrm>
          <a:prstGeom prst="rect">
            <a:avLst/>
          </a:prstGeom>
        </p:spPr>
        <p:txBody>
          <a:bodyPr anchor="t" anchorCtr="0"/>
          <a:lstStyle>
            <a:lvl1pPr>
              <a:defRPr sz="300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8" name="Рисунок 1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56" name="Picture 55" descr="DP_ Primary_singleline"/>
          <p:cNvPicPr/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8799" y="6074410"/>
            <a:ext cx="10080000" cy="585470"/>
          </a:xfrm>
          <a:prstGeom prst="rect">
            <a:avLst/>
          </a:prstGeom>
        </p:spPr>
        <p:txBody>
          <a:bodyPr/>
          <a:lstStyle>
            <a:lvl1pPr>
              <a:defRPr sz="1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71062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68275"/>
            <a:ext cx="9103360" cy="914400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LIDE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40413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1" userDrawn="1">
          <p15:clr>
            <a:srgbClr val="FBAE40"/>
          </p15:clr>
        </p15:guide>
        <p15:guide id="2" orient="horz" pos="142" userDrawn="1">
          <p15:clr>
            <a:srgbClr val="FBAE40"/>
          </p15:clr>
        </p15:guide>
        <p15:guide id="3" pos="7469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1622323"/>
            <a:ext cx="8809703" cy="32298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6" name="Рисунок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0" name="Picture 9" descr="DP_ Primary_singleline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5" y="2624599"/>
            <a:ext cx="6272092" cy="9144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33167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381" y="2057400"/>
            <a:ext cx="11208619" cy="48006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C4C4C5"/>
              </a:clrFrom>
              <a:clrTo>
                <a:srgbClr val="C4C4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58702"/>
            <a:ext cx="7315200" cy="236316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Рисунок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1" name="Picture 10" descr="DP_ Primary_singleline"/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6" y="2809465"/>
            <a:ext cx="4963309" cy="9144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THANK YOU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06032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6116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c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6243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2883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328887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c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12036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6697153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5464961-A40E-41AD-9F0E-027E2C11B54F}" type="slidenum">
              <a:rPr kumimoji="0"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036661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3391" y="5070328"/>
            <a:ext cx="10870108" cy="59092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18815" y="5758408"/>
            <a:ext cx="10874684" cy="4320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9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 hasCustomPrompt="1"/>
          </p:nvPr>
        </p:nvSpPr>
        <p:spPr>
          <a:xfrm>
            <a:off x="10286324" y="1126998"/>
            <a:ext cx="1666328" cy="20424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7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январь 20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2144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текст картинк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817688"/>
            <a:ext cx="5365749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2" y="3078164"/>
            <a:ext cx="53530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5392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картинк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4116915" cy="384901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39882" y="1772952"/>
            <a:ext cx="6453617" cy="1977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9377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70"/>
            <a:ext cx="4116915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5145403" y="1732765"/>
            <a:ext cx="4022939" cy="7523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7804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одна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5034262" y="1729456"/>
            <a:ext cx="6435796" cy="17445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5016442" y="3690652"/>
            <a:ext cx="6453617" cy="18812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776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96599639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етк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>
                <a:solidFill>
                  <a:srgbClr val="004C97"/>
                </a:solidFill>
              </a:rPr>
              <a:t>Промышленная безопасность и охрана труда январь 2022</a:t>
            </a:r>
            <a:endParaRPr lang="ru-RU" dirty="0">
              <a:solidFill>
                <a:srgbClr val="004C97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581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текст в двух мес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0"/>
            <a:ext cx="12192000" cy="6847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7551" y="645071"/>
            <a:ext cx="10775949" cy="91172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908800" y="6233120"/>
            <a:ext cx="4696949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Промышленная безопасность и охрана труда январь 2022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30252" y="1740569"/>
            <a:ext cx="10763248" cy="9632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742951" y="3122232"/>
            <a:ext cx="10750549" cy="24479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700" baseline="0"/>
            </a:lvl1pPr>
          </a:lstStyle>
          <a:p>
            <a:pPr lvl="0"/>
            <a:r>
              <a:rPr lang="ru-RU" dirty="0" smtClean="0"/>
              <a:t>Текст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6394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" name="Picture 2" descr="C:\Users\AyzikovIS\Desktop\ДЗПА\Photo\Russia Polar Division ZF\--33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501548"/>
            <a:ext cx="10639100" cy="325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Рисунок 1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286324" y="1260348"/>
            <a:ext cx="1669701" cy="244603"/>
          </a:xfrm>
          <a:prstGeom prst="rect">
            <a:avLst/>
          </a:prstGeom>
        </p:spPr>
        <p:txBody>
          <a:bodyPr anchor="ctr" anchorCtr="0"/>
          <a:lstStyle>
            <a:lvl1pPr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5027358"/>
            <a:ext cx="10080000" cy="914400"/>
          </a:xfrm>
          <a:prstGeom prst="rect">
            <a:avLst/>
          </a:prstGeom>
        </p:spPr>
        <p:txBody>
          <a:bodyPr anchor="t" anchorCtr="0"/>
          <a:lstStyle>
            <a:lvl1pPr>
              <a:defRPr sz="300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  <a:endParaRPr lang="ru-RU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8" name="Рисунок 1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56" name="Picture 55" descr="DP_ Primary_singleline"/>
          <p:cNvPicPr/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558799" y="6074410"/>
            <a:ext cx="10080000" cy="585470"/>
          </a:xfrm>
          <a:prstGeom prst="rect">
            <a:avLst/>
          </a:prstGeom>
        </p:spPr>
        <p:txBody>
          <a:bodyPr/>
          <a:lstStyle>
            <a:lvl1pPr>
              <a:defRPr sz="1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73684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365760" y="168275"/>
            <a:ext cx="9103360" cy="914400"/>
          </a:xfrm>
          <a:prstGeom prst="rect">
            <a:avLst/>
          </a:prstGeom>
        </p:spPr>
        <p:txBody>
          <a:bodyPr/>
          <a:lstStyle>
            <a:lvl1pPr>
              <a:defRPr sz="1600" baseline="0">
                <a:solidFill>
                  <a:srgbClr val="004C9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SLIDE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16219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1" userDrawn="1">
          <p15:clr>
            <a:srgbClr val="FBAE40"/>
          </p15:clr>
        </p15:guide>
        <p15:guide id="2" orient="horz" pos="142" userDrawn="1">
          <p15:clr>
            <a:srgbClr val="FBAE40"/>
          </p15:clr>
        </p15:guide>
        <p15:guide id="3" pos="7469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1622323"/>
            <a:ext cx="8809703" cy="32298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6" name="Рисунок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322"/>
          <a:stretch/>
        </p:blipFill>
        <p:spPr>
          <a:xfrm>
            <a:off x="0" y="169122"/>
            <a:ext cx="12192000" cy="668887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Рисунок 1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0" name="Picture 9" descr="DP_ Primary_singleline"/>
          <p:cNvPicPr/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5" y="2624599"/>
            <a:ext cx="6272092" cy="9144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67356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3" userDrawn="1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 dirty="0">
              <a:solidFill>
                <a:prstClr val="white"/>
              </a:solidFill>
              <a:latin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381" y="2057400"/>
            <a:ext cx="11208619" cy="48006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clrChange>
              <a:clrFrom>
                <a:srgbClr val="C4C4C5"/>
              </a:clrFrom>
              <a:clrTo>
                <a:srgbClr val="C4C4C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58702"/>
            <a:ext cx="7315200" cy="2363167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719667" y="304800"/>
            <a:ext cx="3801533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ru-RU" sz="180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Рисунок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33350"/>
            <a:ext cx="4114800" cy="838200"/>
          </a:xfrm>
          <a:prstGeom prst="rect">
            <a:avLst/>
          </a:prstGeom>
        </p:spPr>
      </p:pic>
      <p:pic>
        <p:nvPicPr>
          <p:cNvPr id="11" name="Picture 10" descr="DP_ Primary_singleline"/>
          <p:cNvPicPr/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694267" y="1028701"/>
            <a:ext cx="1768196" cy="59055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590826" y="2809465"/>
            <a:ext cx="4963309" cy="914400"/>
          </a:xfrm>
          <a:prstGeom prst="rect">
            <a:avLst/>
          </a:prstGeom>
        </p:spPr>
        <p:txBody>
          <a:bodyPr/>
          <a:lstStyle>
            <a:lvl1pPr>
              <a:defRPr sz="240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en-US" dirty="0"/>
              <a:t>THANK YOU SLI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86221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283515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67796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cre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93690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c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236968" y="6155780"/>
            <a:ext cx="732565" cy="365125"/>
          </a:xfrm>
          <a:prstGeom prst="rect">
            <a:avLst/>
          </a:prstGeo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6B06EC4-1553-4EEC-8AFC-5F4512671736}" type="slidenum">
              <a:rPr kumimoji="0" lang="ru-RU" smtClean="0">
                <a:solidFill>
                  <a:prstClr val="white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ru-RU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0625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18" Type="http://schemas.openxmlformats.org/officeDocument/2006/relationships/slideLayout" Target="../slideLayouts/slideLayout177.xml"/><Relationship Id="rId26" Type="http://schemas.openxmlformats.org/officeDocument/2006/relationships/image" Target="../media/image14.emf"/><Relationship Id="rId3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17" Type="http://schemas.openxmlformats.org/officeDocument/2006/relationships/slideLayout" Target="../slideLayouts/slideLayout176.xml"/><Relationship Id="rId25" Type="http://schemas.openxmlformats.org/officeDocument/2006/relationships/image" Target="../media/image12.jpg"/><Relationship Id="rId2" Type="http://schemas.openxmlformats.org/officeDocument/2006/relationships/slideLayout" Target="../slideLayouts/slideLayout161.xml"/><Relationship Id="rId16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24" Type="http://schemas.openxmlformats.org/officeDocument/2006/relationships/theme" Target="../theme/theme10.xml"/><Relationship Id="rId5" Type="http://schemas.openxmlformats.org/officeDocument/2006/relationships/slideLayout" Target="../slideLayouts/slideLayout164.xml"/><Relationship Id="rId15" Type="http://schemas.openxmlformats.org/officeDocument/2006/relationships/slideLayout" Target="../slideLayouts/slideLayout174.xml"/><Relationship Id="rId23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69.xml"/><Relationship Id="rId19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slideLayout" Target="../slideLayouts/slideLayout173.xml"/><Relationship Id="rId22" Type="http://schemas.openxmlformats.org/officeDocument/2006/relationships/slideLayout" Target="../slideLayouts/slideLayout18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12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vmlDrawing" Target="../drawings/vmlDrawing7.v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9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60.xml"/><Relationship Id="rId21" Type="http://schemas.openxmlformats.org/officeDocument/2006/relationships/oleObject" Target="../embeddings/oleObject13.bin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image" Target="../media/image16.png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67.xml"/><Relationship Id="rId19" Type="http://schemas.openxmlformats.org/officeDocument/2006/relationships/vmlDrawing" Target="../drawings/vmlDrawing13.v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77.xml"/><Relationship Id="rId21" Type="http://schemas.openxmlformats.org/officeDocument/2006/relationships/oleObject" Target="../embeddings/oleObject19.bin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tags" Target="../tags/tag19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image" Target="../media/image16.png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84.xml"/><Relationship Id="rId19" Type="http://schemas.openxmlformats.org/officeDocument/2006/relationships/vmlDrawing" Target="../drawings/vmlDrawing19.v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94.xml"/><Relationship Id="rId21" Type="http://schemas.openxmlformats.org/officeDocument/2006/relationships/oleObject" Target="../embeddings/oleObject25.bin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tags" Target="../tags/tag25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image" Target="../media/image16.png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1.xml"/><Relationship Id="rId19" Type="http://schemas.openxmlformats.org/officeDocument/2006/relationships/vmlDrawing" Target="../drawings/vmlDrawing25.v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111.xml"/><Relationship Id="rId21" Type="http://schemas.openxmlformats.org/officeDocument/2006/relationships/oleObject" Target="../embeddings/oleObject31.bin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image" Target="../media/image16.png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18.xml"/><Relationship Id="rId19" Type="http://schemas.openxmlformats.org/officeDocument/2006/relationships/vmlDrawing" Target="../drawings/vmlDrawing31.v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28.xml"/><Relationship Id="rId21" Type="http://schemas.openxmlformats.org/officeDocument/2006/relationships/oleObject" Target="../embeddings/oleObject37.bin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image" Target="../media/image16.png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35.xml"/><Relationship Id="rId19" Type="http://schemas.openxmlformats.org/officeDocument/2006/relationships/vmlDrawing" Target="../drawings/vmlDrawing37.v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45.xml"/><Relationship Id="rId21" Type="http://schemas.openxmlformats.org/officeDocument/2006/relationships/oleObject" Target="../embeddings/oleObject43.bin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tags" Target="../tags/tag43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image" Target="../media/image6.png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52.xml"/><Relationship Id="rId19" Type="http://schemas.openxmlformats.org/officeDocument/2006/relationships/vmlDrawing" Target="../drawings/vmlDrawing43.v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43550"/>
            <a:ext cx="12192000" cy="130937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0" y="6227475"/>
            <a:ext cx="614400" cy="27000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EF331EC-07DE-4766-988A-D7E0EC398B30}" type="slidenum">
              <a:rPr kumimoji="0" lang="en-US" sz="1000" b="1" smtClean="0">
                <a:solidFill>
                  <a:prstClr val="white"/>
                </a:solidFill>
                <a:latin typeface="Arial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1000" b="1" dirty="0">
              <a:solidFill>
                <a:prstClr val="white"/>
              </a:solidFill>
              <a:latin typeface="Arial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kumimoji="0" lang="en-US" sz="1000" b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6031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877" r:id="rId11"/>
    <p:sldLayoutId id="2147483686" r:id="rId12"/>
    <p:sldLayoutId id="2147483687" r:id="rId13"/>
    <p:sldLayoutId id="2147483689" r:id="rId14"/>
    <p:sldLayoutId id="2147483690" r:id="rId15"/>
    <p:sldLayoutId id="2147483691" r:id="rId16"/>
    <p:sldLayoutId id="2147483692" r:id="rId17"/>
    <p:sldLayoutId id="2147483845" r:id="rId18"/>
    <p:sldLayoutId id="2147483928" r:id="rId1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en-US" sz="2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lang="en-US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itchFamily="34" charset="0"/>
        <a:buChar char="─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79388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anose="05000000000000000000" pitchFamily="2" charset="2"/>
        <a:buChar char="§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hidden="1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0736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117" y="163284"/>
            <a:ext cx="8785225" cy="6334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3117" y="1225220"/>
            <a:ext cx="11427883" cy="5071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76587" y="6549155"/>
            <a:ext cx="430448" cy="1920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AEBC907-F46C-43DB-891C-FAF67FA8713C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34" name="Прямая соединительная линия 33"/>
          <p:cNvCxnSpPr/>
          <p:nvPr userDrawn="1"/>
        </p:nvCxnSpPr>
        <p:spPr>
          <a:xfrm>
            <a:off x="383117" y="6345816"/>
            <a:ext cx="114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 userDrawn="1"/>
        </p:nvCxnSpPr>
        <p:spPr>
          <a:xfrm>
            <a:off x="383117" y="882086"/>
            <a:ext cx="1142400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noska1"/>
          <p:cNvSpPr txBox="1">
            <a:spLocks/>
          </p:cNvSpPr>
          <p:nvPr userDrawn="1"/>
        </p:nvSpPr>
        <p:spPr>
          <a:xfrm>
            <a:off x="483026" y="6441497"/>
            <a:ext cx="11327975" cy="14347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75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/>
          </a:p>
        </p:txBody>
      </p:sp>
      <p:sp>
        <p:nvSpPr>
          <p:cNvPr id="28" name="snoska2"/>
          <p:cNvSpPr txBox="1">
            <a:spLocks/>
          </p:cNvSpPr>
          <p:nvPr userDrawn="1"/>
        </p:nvSpPr>
        <p:spPr>
          <a:xfrm>
            <a:off x="483026" y="6587097"/>
            <a:ext cx="11327975" cy="14347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75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/>
          </a:p>
        </p:txBody>
      </p:sp>
      <p:sp>
        <p:nvSpPr>
          <p:cNvPr id="29" name="number_snoska1"/>
          <p:cNvSpPr txBox="1">
            <a:spLocks/>
          </p:cNvSpPr>
          <p:nvPr userDrawn="1"/>
        </p:nvSpPr>
        <p:spPr>
          <a:xfrm>
            <a:off x="384000" y="6442126"/>
            <a:ext cx="96000" cy="108000"/>
          </a:xfrm>
          <a:prstGeom prst="rect">
            <a:avLst/>
          </a:prstGeom>
        </p:spPr>
        <p:txBody>
          <a:bodyPr tIns="1440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600" kern="1200" baseline="300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800" dirty="0"/>
          </a:p>
        </p:txBody>
      </p:sp>
      <p:sp>
        <p:nvSpPr>
          <p:cNvPr id="30" name="number_snoska2"/>
          <p:cNvSpPr txBox="1">
            <a:spLocks/>
          </p:cNvSpPr>
          <p:nvPr userDrawn="1"/>
        </p:nvSpPr>
        <p:spPr>
          <a:xfrm>
            <a:off x="383120" y="6587215"/>
            <a:ext cx="95249" cy="108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600" kern="1200" baseline="300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800" dirty="0"/>
          </a:p>
        </p:txBody>
      </p:sp>
      <p:grpSp>
        <p:nvGrpSpPr>
          <p:cNvPr id="4" name="Группа 3" hidden="1"/>
          <p:cNvGrpSpPr/>
          <p:nvPr userDrawn="1"/>
        </p:nvGrpSpPr>
        <p:grpSpPr>
          <a:xfrm>
            <a:off x="383117" y="1016240"/>
            <a:ext cx="1598083" cy="115200"/>
            <a:chOff x="287338" y="1016240"/>
            <a:chExt cx="1198562" cy="115200"/>
          </a:xfrm>
        </p:grpSpPr>
        <p:sp>
          <p:nvSpPr>
            <p:cNvPr id="32" name="Box3"/>
            <p:cNvSpPr>
              <a:spLocks/>
            </p:cNvSpPr>
            <p:nvPr userDrawn="1"/>
          </p:nvSpPr>
          <p:spPr bwMode="auto">
            <a:xfrm>
              <a:off x="720725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33" name="Box2"/>
            <p:cNvSpPr>
              <a:spLocks/>
            </p:cNvSpPr>
            <p:nvPr userDrawn="1"/>
          </p:nvSpPr>
          <p:spPr bwMode="auto">
            <a:xfrm>
              <a:off x="504825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36" name="Box1"/>
            <p:cNvSpPr>
              <a:spLocks/>
            </p:cNvSpPr>
            <p:nvPr userDrawn="1"/>
          </p:nvSpPr>
          <p:spPr bwMode="auto">
            <a:xfrm>
              <a:off x="287338" y="1016240"/>
              <a:ext cx="114300" cy="1152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37" name="Box5"/>
            <p:cNvSpPr>
              <a:spLocks/>
            </p:cNvSpPr>
            <p:nvPr userDrawn="1"/>
          </p:nvSpPr>
          <p:spPr bwMode="auto">
            <a:xfrm>
              <a:off x="1154113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38" name="Box4"/>
            <p:cNvSpPr>
              <a:spLocks/>
            </p:cNvSpPr>
            <p:nvPr userDrawn="1"/>
          </p:nvSpPr>
          <p:spPr bwMode="auto">
            <a:xfrm>
              <a:off x="938213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45" name="Box6"/>
            <p:cNvSpPr>
              <a:spLocks/>
            </p:cNvSpPr>
            <p:nvPr userDrawn="1"/>
          </p:nvSpPr>
          <p:spPr bwMode="auto">
            <a:xfrm>
              <a:off x="1371600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</p:grp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327" y="147085"/>
            <a:ext cx="1488000" cy="643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675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  <p:sldLayoutId id="2147484054" r:id="rId11"/>
    <p:sldLayoutId id="2147484055" r:id="rId12"/>
    <p:sldLayoutId id="2147484056" r:id="rId13"/>
    <p:sldLayoutId id="2147484057" r:id="rId14"/>
    <p:sldLayoutId id="2147484058" r:id="rId15"/>
    <p:sldLayoutId id="2147484059" r:id="rId16"/>
    <p:sldLayoutId id="2147484060" r:id="rId17"/>
    <p:sldLayoutId id="2147484061" r:id="rId18"/>
    <p:sldLayoutId id="2147484062" r:id="rId19"/>
    <p:sldLayoutId id="2147484063" r:id="rId20"/>
    <p:sldLayoutId id="2147484064" r:id="rId21"/>
    <p:sldLayoutId id="2147484065" r:id="rId22"/>
    <p:sldLayoutId id="2147484066" r:id="rId2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1200"/>
        </a:spcBef>
        <a:buClr>
          <a:schemeClr val="accent2"/>
        </a:buClr>
        <a:buFont typeface="Arial" panose="020B060402020202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85775" indent="-304800" algn="l" defTabSz="914400" rtl="0" eaLnBrk="1" latinLnBrk="0" hangingPunct="1">
        <a:spcBef>
          <a:spcPts val="600"/>
        </a:spcBef>
        <a:buClr>
          <a:schemeClr val="accent6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" userDrawn="1">
          <p15:clr>
            <a:srgbClr val="F26B43"/>
          </p15:clr>
        </p15:guide>
        <p15:guide id="2" pos="236" userDrawn="1">
          <p15:clr>
            <a:srgbClr val="F26B43"/>
          </p15:clr>
        </p15:guide>
        <p15:guide id="3" pos="7444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pos="6501" userDrawn="1">
          <p15:clr>
            <a:srgbClr val="F26B43"/>
          </p15:clr>
        </p15:guide>
        <p15:guide id="6" orient="horz" pos="3998" userDrawn="1">
          <p15:clr>
            <a:srgbClr val="F26B43"/>
          </p15:clr>
        </p15:guide>
        <p15:guide id="7" pos="575" userDrawn="1">
          <p15:clr>
            <a:srgbClr val="F26B43"/>
          </p15:clr>
        </p15:guide>
        <p15:guide id="8" orient="horz" pos="2160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554" userDrawn="1">
          <p15:clr>
            <a:srgbClr val="F26B43"/>
          </p15:clr>
        </p15:guide>
        <p15:guide id="11" orient="horz" pos="4222" userDrawn="1">
          <p15:clr>
            <a:srgbClr val="F26B43"/>
          </p15:clr>
        </p15:guide>
        <p15:guide id="12" orient="horz" pos="766" userDrawn="1">
          <p15:clr>
            <a:srgbClr val="F26B43"/>
          </p15:clr>
        </p15:guide>
        <p15:guide id="13" orient="horz" pos="2568" userDrawn="1">
          <p15:clr>
            <a:srgbClr val="F26B43"/>
          </p15:clr>
        </p15:guide>
        <p15:guide id="14" orient="horz" pos="49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hidden="1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0736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117" y="163284"/>
            <a:ext cx="8785225" cy="63341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3117" y="1225220"/>
            <a:ext cx="11427883" cy="50710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376587" y="6549155"/>
            <a:ext cx="430448" cy="1920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AEBC907-F46C-43DB-891C-FAF67FA8713C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83117" y="6345816"/>
            <a:ext cx="1142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383117" y="882086"/>
            <a:ext cx="1142400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noska1"/>
          <p:cNvSpPr txBox="1">
            <a:spLocks/>
          </p:cNvSpPr>
          <p:nvPr/>
        </p:nvSpPr>
        <p:spPr>
          <a:xfrm>
            <a:off x="483026" y="6441497"/>
            <a:ext cx="11327975" cy="14347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75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/>
          </a:p>
        </p:txBody>
      </p:sp>
      <p:sp>
        <p:nvSpPr>
          <p:cNvPr id="28" name="snoska2"/>
          <p:cNvSpPr txBox="1">
            <a:spLocks/>
          </p:cNvSpPr>
          <p:nvPr/>
        </p:nvSpPr>
        <p:spPr>
          <a:xfrm>
            <a:off x="483026" y="6587097"/>
            <a:ext cx="11327975" cy="14347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75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00" dirty="0"/>
          </a:p>
        </p:txBody>
      </p:sp>
      <p:sp>
        <p:nvSpPr>
          <p:cNvPr id="29" name="number_snoska1"/>
          <p:cNvSpPr txBox="1">
            <a:spLocks/>
          </p:cNvSpPr>
          <p:nvPr/>
        </p:nvSpPr>
        <p:spPr>
          <a:xfrm>
            <a:off x="384000" y="6442126"/>
            <a:ext cx="96000" cy="108000"/>
          </a:xfrm>
          <a:prstGeom prst="rect">
            <a:avLst/>
          </a:prstGeom>
        </p:spPr>
        <p:txBody>
          <a:bodyPr tIns="14400"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600" kern="1200" baseline="300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800" dirty="0"/>
          </a:p>
        </p:txBody>
      </p:sp>
      <p:sp>
        <p:nvSpPr>
          <p:cNvPr id="30" name="number_snoska2"/>
          <p:cNvSpPr txBox="1">
            <a:spLocks/>
          </p:cNvSpPr>
          <p:nvPr/>
        </p:nvSpPr>
        <p:spPr>
          <a:xfrm>
            <a:off x="383120" y="6587215"/>
            <a:ext cx="95249" cy="108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600" kern="1200" baseline="300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●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5775" indent="-3048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800" dirty="0"/>
          </a:p>
        </p:txBody>
      </p:sp>
      <p:grpSp>
        <p:nvGrpSpPr>
          <p:cNvPr id="4" name="Группа 3" hidden="1"/>
          <p:cNvGrpSpPr/>
          <p:nvPr/>
        </p:nvGrpSpPr>
        <p:grpSpPr>
          <a:xfrm>
            <a:off x="383117" y="1016240"/>
            <a:ext cx="1598083" cy="115200"/>
            <a:chOff x="287338" y="1016240"/>
            <a:chExt cx="1198562" cy="115200"/>
          </a:xfrm>
        </p:grpSpPr>
        <p:sp>
          <p:nvSpPr>
            <p:cNvPr id="32" name="Box3"/>
            <p:cNvSpPr>
              <a:spLocks/>
            </p:cNvSpPr>
            <p:nvPr/>
          </p:nvSpPr>
          <p:spPr bwMode="auto">
            <a:xfrm>
              <a:off x="720725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33" name="Box2"/>
            <p:cNvSpPr>
              <a:spLocks/>
            </p:cNvSpPr>
            <p:nvPr/>
          </p:nvSpPr>
          <p:spPr bwMode="auto">
            <a:xfrm>
              <a:off x="504825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36" name="Box1"/>
            <p:cNvSpPr>
              <a:spLocks/>
            </p:cNvSpPr>
            <p:nvPr/>
          </p:nvSpPr>
          <p:spPr bwMode="auto">
            <a:xfrm>
              <a:off x="287338" y="1016240"/>
              <a:ext cx="114300" cy="1152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37" name="Box5"/>
            <p:cNvSpPr>
              <a:spLocks/>
            </p:cNvSpPr>
            <p:nvPr/>
          </p:nvSpPr>
          <p:spPr bwMode="auto">
            <a:xfrm>
              <a:off x="1154113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38" name="Box4"/>
            <p:cNvSpPr>
              <a:spLocks/>
            </p:cNvSpPr>
            <p:nvPr/>
          </p:nvSpPr>
          <p:spPr bwMode="auto">
            <a:xfrm>
              <a:off x="938213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  <p:sp>
          <p:nvSpPr>
            <p:cNvPr id="45" name="Box6"/>
            <p:cNvSpPr>
              <a:spLocks/>
            </p:cNvSpPr>
            <p:nvPr/>
          </p:nvSpPr>
          <p:spPr bwMode="auto">
            <a:xfrm>
              <a:off x="1371600" y="1016240"/>
              <a:ext cx="114300" cy="1152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54000" tIns="45720" rIns="5400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u="sng"/>
            </a:p>
          </p:txBody>
        </p:sp>
      </p:grpSp>
    </p:spTree>
    <p:extLst>
      <p:ext uri="{BB962C8B-B14F-4D97-AF65-F5344CB8AC3E}">
        <p14:creationId xmlns:p14="http://schemas.microsoft.com/office/powerpoint/2010/main" val="2638837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  <p:sldLayoutId id="2147483901" r:id="rId15"/>
    <p:sldLayoutId id="2147483902" r:id="rId16"/>
    <p:sldLayoutId id="2147483903" r:id="rId17"/>
    <p:sldLayoutId id="2147483904" r:id="rId18"/>
    <p:sldLayoutId id="2147483905" r:id="rId19"/>
    <p:sldLayoutId id="2147483906" r:id="rId2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1200"/>
        </a:spcBef>
        <a:buClr>
          <a:schemeClr val="accent2"/>
        </a:buClr>
        <a:buFont typeface="Arial" panose="020B0604020202020204" pitchFamily="34" charset="0"/>
        <a:buChar char="●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85775" indent="-304800" algn="l" defTabSz="914400" rtl="0" eaLnBrk="1" latinLnBrk="0" hangingPunct="1">
        <a:spcBef>
          <a:spcPts val="600"/>
        </a:spcBef>
        <a:buClr>
          <a:schemeClr val="accent6"/>
        </a:buClr>
        <a:buFont typeface="Arial" panose="020B060402020202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" userDrawn="1">
          <p15:clr>
            <a:srgbClr val="F26B43"/>
          </p15:clr>
        </p15:guide>
        <p15:guide id="2" pos="236" userDrawn="1">
          <p15:clr>
            <a:srgbClr val="F26B43"/>
          </p15:clr>
        </p15:guide>
        <p15:guide id="3" pos="7444" userDrawn="1">
          <p15:clr>
            <a:srgbClr val="F26B43"/>
          </p15:clr>
        </p15:guide>
        <p15:guide id="4" pos="3840" userDrawn="1">
          <p15:clr>
            <a:srgbClr val="F26B43"/>
          </p15:clr>
        </p15:guide>
        <p15:guide id="5" pos="6501" userDrawn="1">
          <p15:clr>
            <a:srgbClr val="F26B43"/>
          </p15:clr>
        </p15:guide>
        <p15:guide id="6" orient="horz" pos="3998" userDrawn="1">
          <p15:clr>
            <a:srgbClr val="F26B43"/>
          </p15:clr>
        </p15:guide>
        <p15:guide id="7" pos="575" userDrawn="1">
          <p15:clr>
            <a:srgbClr val="F26B43"/>
          </p15:clr>
        </p15:guide>
        <p15:guide id="8" orient="horz" pos="2160" userDrawn="1">
          <p15:clr>
            <a:srgbClr val="F26B43"/>
          </p15:clr>
        </p15:guide>
        <p15:guide id="9" orient="horz" pos="3974" userDrawn="1">
          <p15:clr>
            <a:srgbClr val="F26B43"/>
          </p15:clr>
        </p15:guide>
        <p15:guide id="10" orient="horz" pos="554" userDrawn="1">
          <p15:clr>
            <a:srgbClr val="F26B43"/>
          </p15:clr>
        </p15:guide>
        <p15:guide id="11" orient="horz" pos="4222" userDrawn="1">
          <p15:clr>
            <a:srgbClr val="F26B43"/>
          </p15:clr>
        </p15:guide>
        <p15:guide id="12" orient="horz" pos="766" userDrawn="1">
          <p15:clr>
            <a:srgbClr val="F26B43"/>
          </p15:clr>
        </p15:guide>
        <p15:guide id="13" orient="horz" pos="2568" userDrawn="1">
          <p15:clr>
            <a:srgbClr val="F26B43"/>
          </p15:clr>
        </p15:guide>
        <p15:guide id="14" orient="horz" pos="49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43550"/>
            <a:ext cx="12192000" cy="1309370"/>
          </a:xfrm>
          <a:prstGeom prst="rect">
            <a:avLst/>
          </a:prstGeom>
        </p:spPr>
      </p:pic>
      <p:pic>
        <p:nvPicPr>
          <p:cNvPr id="20" name="Picture 19" descr="DP_ Primary_singleline" hidden="1"/>
          <p:cNvPicPr/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10472058" y="642259"/>
            <a:ext cx="1439333" cy="48071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btfpLayoutConfig" hidden="1"/>
          <p:cNvSpPr txBox="1"/>
          <p:nvPr userDrawn="1"/>
        </p:nvSpPr>
        <p:spPr>
          <a:xfrm>
            <a:off x="16934" y="12700"/>
            <a:ext cx="11853333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</a:rPr>
              <a:t>overall_0_132080227890075763 columns_1_132080227890075763 </a:t>
            </a:r>
            <a:endParaRPr lang="ru-RU" sz="100" dirty="0">
              <a:solidFill>
                <a:srgbClr val="FFFFFF">
                  <a:alpha val="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8" name="SlideNumber"/>
          <p:cNvSpPr/>
          <p:nvPr userDrawn="1"/>
        </p:nvSpPr>
        <p:spPr bwMode="gray">
          <a:xfrm>
            <a:off x="390221" y="6268695"/>
            <a:ext cx="141064" cy="138499"/>
          </a:xfrm>
          <a:prstGeom prst="roundRect">
            <a:avLst>
              <a:gd name="adj" fmla="val 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1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 smtClean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45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  <p:sldLayoutId id="2147483926" r:id="rId1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en-US" sz="2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lang="en-US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itchFamily="34" charset="0"/>
        <a:buChar char="─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79388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anose="05000000000000000000" pitchFamily="2" charset="2"/>
        <a:buChar char="§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78" userDrawn="1">
          <p15:clr>
            <a:srgbClr val="F26B43"/>
          </p15:clr>
        </p15:guide>
        <p15:guide id="2" orient="horz" pos="730" userDrawn="1">
          <p15:clr>
            <a:srgbClr val="F26B43"/>
          </p15:clr>
        </p15:guide>
        <p15:guide id="3" orient="horz" pos="3702" userDrawn="1">
          <p15:clr>
            <a:srgbClr val="F26B43"/>
          </p15:clr>
        </p15:guide>
        <p15:guide id="4" pos="139" userDrawn="1">
          <p15:clr>
            <a:srgbClr val="F26B43"/>
          </p15:clr>
        </p15:guide>
        <p15:guide id="5" pos="752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43550"/>
            <a:ext cx="12192000" cy="1309370"/>
          </a:xfrm>
          <a:prstGeom prst="rect">
            <a:avLst/>
          </a:prstGeom>
        </p:spPr>
      </p:pic>
      <p:pic>
        <p:nvPicPr>
          <p:cNvPr id="19" name="Рисунок 12"/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9943" y="63501"/>
            <a:ext cx="2725447" cy="682769"/>
          </a:xfrm>
          <a:prstGeom prst="rect">
            <a:avLst/>
          </a:prstGeom>
        </p:spPr>
      </p:pic>
      <p:pic>
        <p:nvPicPr>
          <p:cNvPr id="20" name="Picture 19" descr="DP_ Primary_singleline"/>
          <p:cNvPicPr/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10472058" y="642259"/>
            <a:ext cx="1439333" cy="48071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0" y="6227475"/>
            <a:ext cx="614400" cy="27000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EF331EC-07DE-4766-988A-D7E0EC398B30}" type="slidenum">
              <a:rPr kumimoji="0" lang="en-US" sz="1000" b="1" smtClean="0">
                <a:solidFill>
                  <a:prstClr val="white"/>
                </a:solidFill>
                <a:latin typeface="Arial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1000" b="1" dirty="0">
              <a:solidFill>
                <a:prstClr val="white"/>
              </a:solidFill>
              <a:latin typeface="Arial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kumimoji="0" lang="en-US" sz="1000" b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8033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5" r:id="rId6"/>
    <p:sldLayoutId id="2147483936" r:id="rId7"/>
    <p:sldLayoutId id="2147483937" r:id="rId8"/>
    <p:sldLayoutId id="2147483938" r:id="rId9"/>
    <p:sldLayoutId id="2147483939" r:id="rId10"/>
    <p:sldLayoutId id="2147483941" r:id="rId11"/>
    <p:sldLayoutId id="2147483942" r:id="rId12"/>
    <p:sldLayoutId id="2147483943" r:id="rId13"/>
    <p:sldLayoutId id="2147483944" r:id="rId14"/>
    <p:sldLayoutId id="2147483945" r:id="rId15"/>
    <p:sldLayoutId id="2147483946" r:id="rId16"/>
    <p:sldLayoutId id="2147483947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en-US" sz="2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lang="en-US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itchFamily="34" charset="0"/>
        <a:buChar char="─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79388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anose="05000000000000000000" pitchFamily="2" charset="2"/>
        <a:buChar char="§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04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43550"/>
            <a:ext cx="12192000" cy="1309370"/>
          </a:xfrm>
          <a:prstGeom prst="rect">
            <a:avLst/>
          </a:prstGeom>
        </p:spPr>
      </p:pic>
      <p:pic>
        <p:nvPicPr>
          <p:cNvPr id="19" name="Рисунок 12"/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9943" y="63501"/>
            <a:ext cx="2725447" cy="682769"/>
          </a:xfrm>
          <a:prstGeom prst="rect">
            <a:avLst/>
          </a:prstGeom>
        </p:spPr>
      </p:pic>
      <p:pic>
        <p:nvPicPr>
          <p:cNvPr id="20" name="Picture 19" descr="DP_ Primary_singleline"/>
          <p:cNvPicPr/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10472058" y="642259"/>
            <a:ext cx="1439333" cy="48071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0" y="6227475"/>
            <a:ext cx="614400" cy="27000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EF331EC-07DE-4766-988A-D7E0EC398B30}" type="slidenum">
              <a:rPr kumimoji="0" lang="en-US" sz="1000" b="1" smtClean="0">
                <a:solidFill>
                  <a:prstClr val="white"/>
                </a:solidFill>
                <a:latin typeface="Arial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1000" b="1" dirty="0">
              <a:solidFill>
                <a:prstClr val="white"/>
              </a:solidFill>
              <a:latin typeface="Arial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kumimoji="0" lang="en-US" sz="1000" b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5852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60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en-US" sz="2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lang="en-US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itchFamily="34" charset="0"/>
        <a:buChar char="─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79388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anose="05000000000000000000" pitchFamily="2" charset="2"/>
        <a:buChar char="§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2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43550"/>
            <a:ext cx="12192000" cy="1309370"/>
          </a:xfrm>
          <a:prstGeom prst="rect">
            <a:avLst/>
          </a:prstGeom>
        </p:spPr>
      </p:pic>
      <p:pic>
        <p:nvPicPr>
          <p:cNvPr id="19" name="Рисунок 12"/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9943" y="63501"/>
            <a:ext cx="2725447" cy="682769"/>
          </a:xfrm>
          <a:prstGeom prst="rect">
            <a:avLst/>
          </a:prstGeom>
        </p:spPr>
      </p:pic>
      <p:pic>
        <p:nvPicPr>
          <p:cNvPr id="20" name="Picture 19" descr="DP_ Primary_singleline"/>
          <p:cNvPicPr/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10472058" y="642259"/>
            <a:ext cx="1439333" cy="48071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0" y="6227475"/>
            <a:ext cx="614400" cy="27000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EF331EC-07DE-4766-988A-D7E0EC398B30}" type="slidenum">
              <a:rPr kumimoji="0" lang="en-US" sz="1000" b="1" smtClean="0">
                <a:solidFill>
                  <a:prstClr val="white"/>
                </a:solidFill>
                <a:latin typeface="Arial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1000" b="1" dirty="0">
              <a:solidFill>
                <a:prstClr val="white"/>
              </a:solidFill>
              <a:latin typeface="Arial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kumimoji="0" lang="en-US" sz="1000" b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5306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  <p:sldLayoutId id="2147483976" r:id="rId9"/>
    <p:sldLayoutId id="2147483977" r:id="rId10"/>
    <p:sldLayoutId id="2147483979" r:id="rId11"/>
    <p:sldLayoutId id="2147483980" r:id="rId12"/>
    <p:sldLayoutId id="2147483981" r:id="rId13"/>
    <p:sldLayoutId id="2147483982" r:id="rId14"/>
    <p:sldLayoutId id="2147483983" r:id="rId15"/>
    <p:sldLayoutId id="2147483984" r:id="rId16"/>
    <p:sldLayoutId id="2147483985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en-US" sz="2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lang="en-US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itchFamily="34" charset="0"/>
        <a:buChar char="─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79388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anose="05000000000000000000" pitchFamily="2" charset="2"/>
        <a:buChar char="§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6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43550"/>
            <a:ext cx="12192000" cy="1309370"/>
          </a:xfrm>
          <a:prstGeom prst="rect">
            <a:avLst/>
          </a:prstGeom>
        </p:spPr>
      </p:pic>
      <p:pic>
        <p:nvPicPr>
          <p:cNvPr id="19" name="Рисунок 12"/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9943" y="63501"/>
            <a:ext cx="2725447" cy="682769"/>
          </a:xfrm>
          <a:prstGeom prst="rect">
            <a:avLst/>
          </a:prstGeom>
        </p:spPr>
      </p:pic>
      <p:pic>
        <p:nvPicPr>
          <p:cNvPr id="20" name="Picture 19" descr="DP_ Primary_singleline"/>
          <p:cNvPicPr/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10472058" y="642259"/>
            <a:ext cx="1439333" cy="48071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0" y="6227475"/>
            <a:ext cx="614400" cy="27000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EF331EC-07DE-4766-988A-D7E0EC398B30}" type="slidenum">
              <a:rPr kumimoji="0" lang="en-US" sz="1000" b="1" smtClean="0">
                <a:solidFill>
                  <a:prstClr val="white"/>
                </a:solidFill>
                <a:latin typeface="Arial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1000" b="1" dirty="0">
              <a:solidFill>
                <a:prstClr val="white"/>
              </a:solidFill>
              <a:latin typeface="Arial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kumimoji="0" lang="en-US" sz="1000" b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0530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  <p:sldLayoutId id="2147484004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en-US" sz="2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lang="en-US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itchFamily="34" charset="0"/>
        <a:buChar char="─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79388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anose="05000000000000000000" pitchFamily="2" charset="2"/>
        <a:buChar char="§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0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43550"/>
            <a:ext cx="12192000" cy="1309370"/>
          </a:xfrm>
          <a:prstGeom prst="rect">
            <a:avLst/>
          </a:prstGeom>
        </p:spPr>
      </p:pic>
      <p:pic>
        <p:nvPicPr>
          <p:cNvPr id="19" name="Рисунок 12"/>
          <p:cNvPicPr>
            <a:picLocks noChangeAspect="1"/>
          </p:cNvPicPr>
          <p:nvPr userDrawn="1"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9943" y="63501"/>
            <a:ext cx="2725447" cy="682769"/>
          </a:xfrm>
          <a:prstGeom prst="rect">
            <a:avLst/>
          </a:prstGeom>
        </p:spPr>
      </p:pic>
      <p:pic>
        <p:nvPicPr>
          <p:cNvPr id="20" name="Picture 19" descr="DP_ Primary_singleline"/>
          <p:cNvPicPr/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10472058" y="642259"/>
            <a:ext cx="1439333" cy="48071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0" y="6227475"/>
            <a:ext cx="614400" cy="27000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EF331EC-07DE-4766-988A-D7E0EC398B30}" type="slidenum">
              <a:rPr kumimoji="0" lang="en-US" sz="1000" b="1" smtClean="0">
                <a:solidFill>
                  <a:prstClr val="white"/>
                </a:solidFill>
                <a:latin typeface="Arial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1000" b="1" dirty="0">
              <a:solidFill>
                <a:prstClr val="white"/>
              </a:solidFill>
              <a:latin typeface="Arial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kumimoji="0" lang="en-US" sz="1000" b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66954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7" r:id="rId11"/>
    <p:sldLayoutId id="2147484018" r:id="rId12"/>
    <p:sldLayoutId id="2147484019" r:id="rId13"/>
    <p:sldLayoutId id="2147484020" r:id="rId14"/>
    <p:sldLayoutId id="2147484021" r:id="rId15"/>
    <p:sldLayoutId id="2147484022" r:id="rId16"/>
    <p:sldLayoutId id="2147484023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en-US" sz="2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lang="en-US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itchFamily="34" charset="0"/>
        <a:buChar char="─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79388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anose="05000000000000000000" pitchFamily="2" charset="2"/>
        <a:buChar char="§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4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543550"/>
            <a:ext cx="12192000" cy="1309370"/>
          </a:xfrm>
          <a:prstGeom prst="rect">
            <a:avLst/>
          </a:prstGeom>
        </p:spPr>
      </p:pic>
      <p:pic>
        <p:nvPicPr>
          <p:cNvPr id="20" name="Picture 19" descr="DP_ Primary_singleline"/>
          <p:cNvPicPr/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53" t="10802" r="50414" b="38113"/>
          <a:stretch>
            <a:fillRect/>
          </a:stretch>
        </p:blipFill>
        <p:spPr bwMode="auto">
          <a:xfrm>
            <a:off x="10472058" y="642259"/>
            <a:ext cx="1439333" cy="48071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0" y="6227475"/>
            <a:ext cx="614400" cy="270000"/>
          </a:xfrm>
          <a:prstGeom prst="rect">
            <a:avLst/>
          </a:prstGeom>
        </p:spPr>
        <p:txBody>
          <a:bodyPr vert="horz" wrap="square" lIns="91440" tIns="45720" rIns="91440" bIns="45720" rtlCol="0">
            <a:norm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EF331EC-07DE-4766-988A-D7E0EC398B30}" type="slidenum">
              <a:rPr kumimoji="0" lang="en-US" sz="1000" b="1" smtClean="0">
                <a:solidFill>
                  <a:prstClr val="white"/>
                </a:solidFill>
                <a:latin typeface="Arial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sz="1000" b="1" dirty="0">
              <a:solidFill>
                <a:prstClr val="white"/>
              </a:solidFill>
              <a:latin typeface="Arial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</a:pPr>
            <a:endParaRPr kumimoji="0" lang="en-US" sz="1000" b="1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3434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6" r:id="rId11"/>
    <p:sldLayoutId id="2147484037" r:id="rId12"/>
    <p:sldLayoutId id="2147484038" r:id="rId13"/>
    <p:sldLayoutId id="2147484039" r:id="rId14"/>
    <p:sldLayoutId id="2147484040" r:id="rId15"/>
    <p:sldLayoutId id="2147484041" r:id="rId16"/>
    <p:sldLayoutId id="2147484042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lang="en-US" sz="2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itchFamily="2" charset="2"/>
        <a:buChar char="§"/>
        <a:defRPr lang="en-US" sz="18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67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itchFamily="34" charset="0"/>
        <a:buChar char="─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15900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Arial" panose="020B0604020202020204" pitchFamily="34" charset="0"/>
        <a:buChar char="−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63600" indent="-179388" algn="l" defTabSz="914400" rtl="0" eaLnBrk="1" latinLnBrk="0" hangingPunct="1">
        <a:spcBef>
          <a:spcPts val="0"/>
        </a:spcBef>
        <a:spcAft>
          <a:spcPts val="600"/>
        </a:spcAft>
        <a:buSzPct val="100000"/>
        <a:buFont typeface="Wingdings" panose="05000000000000000000" pitchFamily="2" charset="2"/>
        <a:buChar char="§"/>
        <a:defRPr lang="en-GB" sz="120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223792" y="6381328"/>
            <a:ext cx="3522712" cy="241002"/>
          </a:xfrm>
        </p:spPr>
        <p:txBody>
          <a:bodyPr/>
          <a:lstStyle/>
          <a:p>
            <a:pPr algn="ctr">
              <a:defRPr/>
            </a:pPr>
            <a:r>
              <a:rPr kumimoji="0" lang="ru-RU" cap="none" dirty="0" smtClean="0">
                <a:solidFill>
                  <a:srgbClr val="1F497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Слайды презентации по результатам расследования»</a:t>
            </a:r>
            <a:endParaRPr kumimoji="0" lang="ru-RU" cap="none" dirty="0">
              <a:solidFill>
                <a:srgbClr val="1F497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11524" y="2691298"/>
            <a:ext cx="8568952" cy="1475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2800" dirty="0" smtClean="0">
                <a:solidFill>
                  <a:srgbClr val="0070C0"/>
                </a:solidFill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ЗУЛЬТАТЫ РАССЛЕДОВАНИЯ ПРОИСШЕСТВИЯ, ПРОИЗОШЕДШЕГО (ДАТА) В (НАИМЕНОВАНИЕ ПРЕДПРИЯТИЯ)</a:t>
            </a:r>
            <a:endParaRPr lang="ru-RU" sz="2800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1588" y="219636"/>
            <a:ext cx="1246855" cy="682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591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994219"/>
              </p:ext>
            </p:extLst>
          </p:nvPr>
        </p:nvGraphicFramePr>
        <p:xfrm>
          <a:off x="480951" y="944901"/>
          <a:ext cx="11281557" cy="4901168"/>
        </p:xfrm>
        <a:graphic>
          <a:graphicData uri="http://schemas.openxmlformats.org/drawingml/2006/table">
            <a:tbl>
              <a:tblPr/>
              <a:tblGrid>
                <a:gridCol w="1395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866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995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149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ФОРМАЦИЯ О НЕСЧАСТНОМ СЛУЧАЕ: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ОТО / СХЕМА МЕСТА ПРОИСШЕСТВИЯ: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6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АТА: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Д.ММ.ГГГГ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7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180340" algn="l"/>
                        </a:tabLst>
                      </a:pPr>
                      <a:endParaRPr lang="ru-RU" sz="1100" dirty="0" smtClean="0"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72000" marT="36000" marB="36000" anchor="b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6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ОДРАЗДЕЛЕНИЕ: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рифт – </a:t>
                      </a: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6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ОСТРАДАВШИЙ: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рифт – </a:t>
                      </a: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78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ПИСАНИЕ:</a:t>
                      </a:r>
                    </a:p>
                  </a:txBody>
                  <a:tcPr marL="2922" marR="2922" marT="2922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4974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писание происшествия (шрифт – </a:t>
                      </a: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))</a:t>
                      </a:r>
                    </a:p>
                  </a:txBody>
                  <a:tcPr marL="0" marR="72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978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СТОЯТЕЛЬСТВА ПРОИСШЕСТВИЯ:</a:t>
                      </a:r>
                    </a:p>
                  </a:txBody>
                  <a:tcPr marL="2922" marR="2922" marT="2922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89491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стоятельства происшествия (шрифт – </a:t>
                      </a:r>
                      <a:r>
                        <a:rPr kumimoji="0" lang="en-US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))</a:t>
                      </a:r>
                    </a:p>
                  </a:txBody>
                  <a:tcPr marL="36000" marR="72000" marT="36000" marB="36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17" name="Group 169">
            <a:extLst>
              <a:ext uri="{FF2B5EF4-FFF2-40B4-BE49-F238E27FC236}">
                <a16:creationId xmlns:a16="http://schemas.microsoft.com/office/drawing/2014/main" id="{74DCC01F-E399-416C-ACB6-6FD420F452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19544" y="220314"/>
            <a:ext cx="982383" cy="206717"/>
            <a:chOff x="578" y="1132"/>
            <a:chExt cx="4586" cy="965"/>
          </a:xfrm>
        </p:grpSpPr>
        <p:sp>
          <p:nvSpPr>
            <p:cNvPr id="18" name="Freeform 170">
              <a:extLst>
                <a:ext uri="{FF2B5EF4-FFF2-40B4-BE49-F238E27FC236}">
                  <a16:creationId xmlns:a16="http://schemas.microsoft.com/office/drawing/2014/main" id="{8E1F1075-FACF-4C22-AABE-56A5E1418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13" y="1448"/>
              <a:ext cx="2851" cy="333"/>
            </a:xfrm>
            <a:custGeom>
              <a:avLst/>
              <a:gdLst>
                <a:gd name="T0" fmla="*/ 2911 w 5938"/>
                <a:gd name="T1" fmla="*/ 11 h 694"/>
                <a:gd name="T2" fmla="*/ 2707 w 5938"/>
                <a:gd name="T3" fmla="*/ 680 h 694"/>
                <a:gd name="T4" fmla="*/ 3117 w 5938"/>
                <a:gd name="T5" fmla="*/ 344 h 694"/>
                <a:gd name="T6" fmla="*/ 3321 w 5938"/>
                <a:gd name="T7" fmla="*/ 680 h 694"/>
                <a:gd name="T8" fmla="*/ 3132 w 5938"/>
                <a:gd name="T9" fmla="*/ 11 h 694"/>
                <a:gd name="T10" fmla="*/ 1735 w 5938"/>
                <a:gd name="T11" fmla="*/ 282 h 694"/>
                <a:gd name="T12" fmla="*/ 1588 w 5938"/>
                <a:gd name="T13" fmla="*/ 353 h 694"/>
                <a:gd name="T14" fmla="*/ 1669 w 5938"/>
                <a:gd name="T15" fmla="*/ 176 h 694"/>
                <a:gd name="T16" fmla="*/ 1735 w 5938"/>
                <a:gd name="T17" fmla="*/ 282 h 694"/>
                <a:gd name="T18" fmla="*/ 1372 w 5938"/>
                <a:gd name="T19" fmla="*/ 11 h 694"/>
                <a:gd name="T20" fmla="*/ 1588 w 5938"/>
                <a:gd name="T21" fmla="*/ 680 h 694"/>
                <a:gd name="T22" fmla="*/ 1691 w 5938"/>
                <a:gd name="T23" fmla="*/ 516 h 694"/>
                <a:gd name="T24" fmla="*/ 1944 w 5938"/>
                <a:gd name="T25" fmla="*/ 225 h 694"/>
                <a:gd name="T26" fmla="*/ 4741 w 5938"/>
                <a:gd name="T27" fmla="*/ 365 h 694"/>
                <a:gd name="T28" fmla="*/ 4613 w 5938"/>
                <a:gd name="T29" fmla="*/ 506 h 694"/>
                <a:gd name="T30" fmla="*/ 4697 w 5938"/>
                <a:gd name="T31" fmla="*/ 680 h 694"/>
                <a:gd name="T32" fmla="*/ 4948 w 5938"/>
                <a:gd name="T33" fmla="*/ 186 h 694"/>
                <a:gd name="T34" fmla="*/ 5069 w 5938"/>
                <a:gd name="T35" fmla="*/ 680 h 694"/>
                <a:gd name="T36" fmla="*/ 5284 w 5938"/>
                <a:gd name="T37" fmla="*/ 11 h 694"/>
                <a:gd name="T38" fmla="*/ 4741 w 5938"/>
                <a:gd name="T39" fmla="*/ 365 h 694"/>
                <a:gd name="T40" fmla="*/ 1003 w 5938"/>
                <a:gd name="T41" fmla="*/ 536 h 694"/>
                <a:gd name="T42" fmla="*/ 904 w 5938"/>
                <a:gd name="T43" fmla="*/ 455 h 694"/>
                <a:gd name="T44" fmla="*/ 984 w 5938"/>
                <a:gd name="T45" fmla="*/ 158 h 694"/>
                <a:gd name="T46" fmla="*/ 1083 w 5938"/>
                <a:gd name="T47" fmla="*/ 238 h 694"/>
                <a:gd name="T48" fmla="*/ 1046 w 5938"/>
                <a:gd name="T49" fmla="*/ 0 h 694"/>
                <a:gd name="T50" fmla="*/ 687 w 5938"/>
                <a:gd name="T51" fmla="*/ 254 h 694"/>
                <a:gd name="T52" fmla="*/ 941 w 5938"/>
                <a:gd name="T53" fmla="*/ 694 h 694"/>
                <a:gd name="T54" fmla="*/ 1299 w 5938"/>
                <a:gd name="T55" fmla="*/ 440 h 694"/>
                <a:gd name="T56" fmla="*/ 1046 w 5938"/>
                <a:gd name="T57" fmla="*/ 0 h 694"/>
                <a:gd name="T58" fmla="*/ 3798 w 5938"/>
                <a:gd name="T59" fmla="*/ 11 h 694"/>
                <a:gd name="T60" fmla="*/ 3631 w 5938"/>
                <a:gd name="T61" fmla="*/ 264 h 694"/>
                <a:gd name="T62" fmla="*/ 3416 w 5938"/>
                <a:gd name="T63" fmla="*/ 11 h 694"/>
                <a:gd name="T64" fmla="*/ 3631 w 5938"/>
                <a:gd name="T65" fmla="*/ 680 h 694"/>
                <a:gd name="T66" fmla="*/ 3684 w 5938"/>
                <a:gd name="T67" fmla="*/ 443 h 694"/>
                <a:gd name="T68" fmla="*/ 4047 w 5938"/>
                <a:gd name="T69" fmla="*/ 680 h 694"/>
                <a:gd name="T70" fmla="*/ 4031 w 5938"/>
                <a:gd name="T71" fmla="*/ 11 h 694"/>
                <a:gd name="T72" fmla="*/ 4540 w 5938"/>
                <a:gd name="T73" fmla="*/ 426 h 694"/>
                <a:gd name="T74" fmla="*/ 4297 w 5938"/>
                <a:gd name="T75" fmla="*/ 267 h 694"/>
                <a:gd name="T76" fmla="*/ 4562 w 5938"/>
                <a:gd name="T77" fmla="*/ 186 h 694"/>
                <a:gd name="T78" fmla="*/ 4082 w 5938"/>
                <a:gd name="T79" fmla="*/ 11 h 694"/>
                <a:gd name="T80" fmla="*/ 4582 w 5938"/>
                <a:gd name="T81" fmla="*/ 680 h 694"/>
                <a:gd name="T82" fmla="*/ 4297 w 5938"/>
                <a:gd name="T83" fmla="*/ 506 h 694"/>
                <a:gd name="T84" fmla="*/ 5663 w 5938"/>
                <a:gd name="T85" fmla="*/ 516 h 694"/>
                <a:gd name="T86" fmla="*/ 5582 w 5938"/>
                <a:gd name="T87" fmla="*/ 370 h 694"/>
                <a:gd name="T88" fmla="*/ 5729 w 5938"/>
                <a:gd name="T89" fmla="*/ 443 h 694"/>
                <a:gd name="T90" fmla="*/ 5685 w 5938"/>
                <a:gd name="T91" fmla="*/ 206 h 694"/>
                <a:gd name="T92" fmla="*/ 5582 w 5938"/>
                <a:gd name="T93" fmla="*/ 11 h 694"/>
                <a:gd name="T94" fmla="*/ 5366 w 5938"/>
                <a:gd name="T95" fmla="*/ 680 h 694"/>
                <a:gd name="T96" fmla="*/ 5938 w 5938"/>
                <a:gd name="T97" fmla="*/ 467 h 694"/>
                <a:gd name="T98" fmla="*/ 5685 w 5938"/>
                <a:gd name="T99" fmla="*/ 206 h 694"/>
                <a:gd name="T100" fmla="*/ 2214 w 5938"/>
                <a:gd name="T101" fmla="*/ 259 h 694"/>
                <a:gd name="T102" fmla="*/ 1999 w 5938"/>
                <a:gd name="T103" fmla="*/ 11 h 694"/>
                <a:gd name="T104" fmla="*/ 2214 w 5938"/>
                <a:gd name="T105" fmla="*/ 680 h 694"/>
                <a:gd name="T106" fmla="*/ 2398 w 5938"/>
                <a:gd name="T107" fmla="*/ 443 h 694"/>
                <a:gd name="T108" fmla="*/ 2613 w 5938"/>
                <a:gd name="T109" fmla="*/ 680 h 694"/>
                <a:gd name="T110" fmla="*/ 2398 w 5938"/>
                <a:gd name="T111" fmla="*/ 11 h 694"/>
                <a:gd name="T112" fmla="*/ 399 w 5938"/>
                <a:gd name="T113" fmla="*/ 259 h 694"/>
                <a:gd name="T114" fmla="*/ 215 w 5938"/>
                <a:gd name="T115" fmla="*/ 11 h 694"/>
                <a:gd name="T116" fmla="*/ 0 w 5938"/>
                <a:gd name="T117" fmla="*/ 680 h 694"/>
                <a:gd name="T118" fmla="*/ 215 w 5938"/>
                <a:gd name="T119" fmla="*/ 443 h 694"/>
                <a:gd name="T120" fmla="*/ 399 w 5938"/>
                <a:gd name="T121" fmla="*/ 680 h 694"/>
                <a:gd name="T122" fmla="*/ 614 w 5938"/>
                <a:gd name="T123" fmla="*/ 11 h 694"/>
                <a:gd name="T124" fmla="*/ 399 w 5938"/>
                <a:gd name="T125" fmla="*/ 259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38" h="694">
                  <a:moveTo>
                    <a:pt x="2911" y="350"/>
                  </a:moveTo>
                  <a:lnTo>
                    <a:pt x="2911" y="11"/>
                  </a:lnTo>
                  <a:lnTo>
                    <a:pt x="2707" y="11"/>
                  </a:lnTo>
                  <a:lnTo>
                    <a:pt x="2707" y="680"/>
                  </a:lnTo>
                  <a:lnTo>
                    <a:pt x="2896" y="680"/>
                  </a:lnTo>
                  <a:lnTo>
                    <a:pt x="3117" y="344"/>
                  </a:lnTo>
                  <a:lnTo>
                    <a:pt x="3117" y="680"/>
                  </a:lnTo>
                  <a:lnTo>
                    <a:pt x="3321" y="680"/>
                  </a:lnTo>
                  <a:lnTo>
                    <a:pt x="3321" y="11"/>
                  </a:lnTo>
                  <a:lnTo>
                    <a:pt x="3132" y="11"/>
                  </a:lnTo>
                  <a:lnTo>
                    <a:pt x="2911" y="350"/>
                  </a:lnTo>
                  <a:close/>
                  <a:moveTo>
                    <a:pt x="1735" y="282"/>
                  </a:moveTo>
                  <a:cubicBezTo>
                    <a:pt x="1735" y="306"/>
                    <a:pt x="1722" y="353"/>
                    <a:pt x="1660" y="353"/>
                  </a:cubicBezTo>
                  <a:lnTo>
                    <a:pt x="1588" y="353"/>
                  </a:lnTo>
                  <a:lnTo>
                    <a:pt x="1588" y="176"/>
                  </a:lnTo>
                  <a:lnTo>
                    <a:pt x="1669" y="176"/>
                  </a:lnTo>
                  <a:cubicBezTo>
                    <a:pt x="1691" y="176"/>
                    <a:pt x="1735" y="194"/>
                    <a:pt x="1735" y="246"/>
                  </a:cubicBezTo>
                  <a:lnTo>
                    <a:pt x="1735" y="282"/>
                  </a:lnTo>
                  <a:close/>
                  <a:moveTo>
                    <a:pt x="1691" y="11"/>
                  </a:moveTo>
                  <a:lnTo>
                    <a:pt x="1372" y="11"/>
                  </a:lnTo>
                  <a:lnTo>
                    <a:pt x="1372" y="680"/>
                  </a:lnTo>
                  <a:lnTo>
                    <a:pt x="1588" y="680"/>
                  </a:lnTo>
                  <a:lnTo>
                    <a:pt x="1588" y="516"/>
                  </a:lnTo>
                  <a:lnTo>
                    <a:pt x="1691" y="516"/>
                  </a:lnTo>
                  <a:cubicBezTo>
                    <a:pt x="1830" y="516"/>
                    <a:pt x="1944" y="439"/>
                    <a:pt x="1944" y="303"/>
                  </a:cubicBezTo>
                  <a:lnTo>
                    <a:pt x="1944" y="225"/>
                  </a:lnTo>
                  <a:cubicBezTo>
                    <a:pt x="1944" y="88"/>
                    <a:pt x="1830" y="11"/>
                    <a:pt x="1691" y="11"/>
                  </a:cubicBezTo>
                  <a:close/>
                  <a:moveTo>
                    <a:pt x="4741" y="365"/>
                  </a:moveTo>
                  <a:cubicBezTo>
                    <a:pt x="4741" y="467"/>
                    <a:pt x="4714" y="482"/>
                    <a:pt x="4675" y="500"/>
                  </a:cubicBezTo>
                  <a:cubicBezTo>
                    <a:pt x="4659" y="508"/>
                    <a:pt x="4613" y="506"/>
                    <a:pt x="4613" y="506"/>
                  </a:cubicBezTo>
                  <a:lnTo>
                    <a:pt x="4613" y="680"/>
                  </a:lnTo>
                  <a:lnTo>
                    <a:pt x="4697" y="680"/>
                  </a:lnTo>
                  <a:cubicBezTo>
                    <a:pt x="4879" y="680"/>
                    <a:pt x="4946" y="575"/>
                    <a:pt x="4948" y="339"/>
                  </a:cubicBezTo>
                  <a:cubicBezTo>
                    <a:pt x="4949" y="285"/>
                    <a:pt x="4948" y="233"/>
                    <a:pt x="4948" y="186"/>
                  </a:cubicBezTo>
                  <a:lnTo>
                    <a:pt x="5069" y="186"/>
                  </a:lnTo>
                  <a:lnTo>
                    <a:pt x="5069" y="680"/>
                  </a:lnTo>
                  <a:lnTo>
                    <a:pt x="5284" y="680"/>
                  </a:lnTo>
                  <a:lnTo>
                    <a:pt x="5284" y="11"/>
                  </a:lnTo>
                  <a:lnTo>
                    <a:pt x="4741" y="11"/>
                  </a:lnTo>
                  <a:lnTo>
                    <a:pt x="4741" y="365"/>
                  </a:lnTo>
                  <a:close/>
                  <a:moveTo>
                    <a:pt x="1083" y="455"/>
                  </a:moveTo>
                  <a:cubicBezTo>
                    <a:pt x="1083" y="500"/>
                    <a:pt x="1047" y="536"/>
                    <a:pt x="1003" y="536"/>
                  </a:cubicBezTo>
                  <a:lnTo>
                    <a:pt x="984" y="536"/>
                  </a:lnTo>
                  <a:cubicBezTo>
                    <a:pt x="940" y="536"/>
                    <a:pt x="904" y="500"/>
                    <a:pt x="904" y="455"/>
                  </a:cubicBezTo>
                  <a:lnTo>
                    <a:pt x="904" y="238"/>
                  </a:lnTo>
                  <a:cubicBezTo>
                    <a:pt x="904" y="194"/>
                    <a:pt x="940" y="158"/>
                    <a:pt x="984" y="158"/>
                  </a:cubicBezTo>
                  <a:lnTo>
                    <a:pt x="1003" y="158"/>
                  </a:lnTo>
                  <a:cubicBezTo>
                    <a:pt x="1047" y="158"/>
                    <a:pt x="1083" y="194"/>
                    <a:pt x="1083" y="238"/>
                  </a:cubicBezTo>
                  <a:lnTo>
                    <a:pt x="1083" y="455"/>
                  </a:lnTo>
                  <a:close/>
                  <a:moveTo>
                    <a:pt x="1046" y="0"/>
                  </a:moveTo>
                  <a:lnTo>
                    <a:pt x="941" y="0"/>
                  </a:lnTo>
                  <a:cubicBezTo>
                    <a:pt x="801" y="0"/>
                    <a:pt x="687" y="100"/>
                    <a:pt x="687" y="254"/>
                  </a:cubicBezTo>
                  <a:lnTo>
                    <a:pt x="687" y="440"/>
                  </a:lnTo>
                  <a:cubicBezTo>
                    <a:pt x="687" y="595"/>
                    <a:pt x="801" y="694"/>
                    <a:pt x="941" y="694"/>
                  </a:cubicBezTo>
                  <a:lnTo>
                    <a:pt x="1046" y="694"/>
                  </a:lnTo>
                  <a:cubicBezTo>
                    <a:pt x="1185" y="694"/>
                    <a:pt x="1299" y="594"/>
                    <a:pt x="1299" y="440"/>
                  </a:cubicBezTo>
                  <a:lnTo>
                    <a:pt x="1299" y="254"/>
                  </a:lnTo>
                  <a:cubicBezTo>
                    <a:pt x="1299" y="91"/>
                    <a:pt x="1185" y="0"/>
                    <a:pt x="1046" y="0"/>
                  </a:cubicBezTo>
                  <a:close/>
                  <a:moveTo>
                    <a:pt x="4031" y="11"/>
                  </a:moveTo>
                  <a:lnTo>
                    <a:pt x="3798" y="11"/>
                  </a:lnTo>
                  <a:lnTo>
                    <a:pt x="3684" y="264"/>
                  </a:lnTo>
                  <a:lnTo>
                    <a:pt x="3631" y="264"/>
                  </a:lnTo>
                  <a:lnTo>
                    <a:pt x="3631" y="11"/>
                  </a:lnTo>
                  <a:lnTo>
                    <a:pt x="3416" y="11"/>
                  </a:lnTo>
                  <a:lnTo>
                    <a:pt x="3416" y="680"/>
                  </a:lnTo>
                  <a:lnTo>
                    <a:pt x="3631" y="680"/>
                  </a:lnTo>
                  <a:lnTo>
                    <a:pt x="3631" y="443"/>
                  </a:lnTo>
                  <a:lnTo>
                    <a:pt x="3684" y="443"/>
                  </a:lnTo>
                  <a:lnTo>
                    <a:pt x="3800" y="680"/>
                  </a:lnTo>
                  <a:lnTo>
                    <a:pt x="4047" y="680"/>
                  </a:lnTo>
                  <a:lnTo>
                    <a:pt x="3864" y="343"/>
                  </a:lnTo>
                  <a:lnTo>
                    <a:pt x="4031" y="11"/>
                  </a:lnTo>
                  <a:close/>
                  <a:moveTo>
                    <a:pt x="4297" y="426"/>
                  </a:moveTo>
                  <a:lnTo>
                    <a:pt x="4540" y="426"/>
                  </a:lnTo>
                  <a:lnTo>
                    <a:pt x="4540" y="267"/>
                  </a:lnTo>
                  <a:lnTo>
                    <a:pt x="4297" y="267"/>
                  </a:lnTo>
                  <a:lnTo>
                    <a:pt x="4297" y="186"/>
                  </a:lnTo>
                  <a:lnTo>
                    <a:pt x="4562" y="186"/>
                  </a:lnTo>
                  <a:lnTo>
                    <a:pt x="4562" y="11"/>
                  </a:lnTo>
                  <a:lnTo>
                    <a:pt x="4082" y="11"/>
                  </a:lnTo>
                  <a:lnTo>
                    <a:pt x="4082" y="680"/>
                  </a:lnTo>
                  <a:lnTo>
                    <a:pt x="4582" y="680"/>
                  </a:lnTo>
                  <a:lnTo>
                    <a:pt x="4582" y="506"/>
                  </a:lnTo>
                  <a:lnTo>
                    <a:pt x="4297" y="506"/>
                  </a:lnTo>
                  <a:lnTo>
                    <a:pt x="4297" y="426"/>
                  </a:lnTo>
                  <a:close/>
                  <a:moveTo>
                    <a:pt x="5663" y="516"/>
                  </a:moveTo>
                  <a:lnTo>
                    <a:pt x="5582" y="516"/>
                  </a:lnTo>
                  <a:lnTo>
                    <a:pt x="5582" y="370"/>
                  </a:lnTo>
                  <a:lnTo>
                    <a:pt x="5654" y="370"/>
                  </a:lnTo>
                  <a:cubicBezTo>
                    <a:pt x="5715" y="370"/>
                    <a:pt x="5729" y="414"/>
                    <a:pt x="5729" y="443"/>
                  </a:cubicBezTo>
                  <a:cubicBezTo>
                    <a:pt x="5729" y="503"/>
                    <a:pt x="5679" y="516"/>
                    <a:pt x="5663" y="516"/>
                  </a:cubicBezTo>
                  <a:close/>
                  <a:moveTo>
                    <a:pt x="5685" y="206"/>
                  </a:moveTo>
                  <a:lnTo>
                    <a:pt x="5582" y="206"/>
                  </a:lnTo>
                  <a:lnTo>
                    <a:pt x="5582" y="11"/>
                  </a:lnTo>
                  <a:lnTo>
                    <a:pt x="5366" y="11"/>
                  </a:lnTo>
                  <a:lnTo>
                    <a:pt x="5366" y="680"/>
                  </a:lnTo>
                  <a:lnTo>
                    <a:pt x="5685" y="680"/>
                  </a:lnTo>
                  <a:cubicBezTo>
                    <a:pt x="5824" y="680"/>
                    <a:pt x="5938" y="604"/>
                    <a:pt x="5938" y="467"/>
                  </a:cubicBezTo>
                  <a:lnTo>
                    <a:pt x="5938" y="420"/>
                  </a:lnTo>
                  <a:cubicBezTo>
                    <a:pt x="5938" y="283"/>
                    <a:pt x="5824" y="206"/>
                    <a:pt x="5685" y="206"/>
                  </a:cubicBezTo>
                  <a:close/>
                  <a:moveTo>
                    <a:pt x="2398" y="259"/>
                  </a:moveTo>
                  <a:lnTo>
                    <a:pt x="2214" y="259"/>
                  </a:lnTo>
                  <a:lnTo>
                    <a:pt x="2214" y="11"/>
                  </a:lnTo>
                  <a:lnTo>
                    <a:pt x="1999" y="11"/>
                  </a:lnTo>
                  <a:lnTo>
                    <a:pt x="1999" y="680"/>
                  </a:lnTo>
                  <a:lnTo>
                    <a:pt x="2214" y="680"/>
                  </a:lnTo>
                  <a:lnTo>
                    <a:pt x="2214" y="443"/>
                  </a:lnTo>
                  <a:lnTo>
                    <a:pt x="2398" y="443"/>
                  </a:lnTo>
                  <a:lnTo>
                    <a:pt x="2398" y="680"/>
                  </a:lnTo>
                  <a:lnTo>
                    <a:pt x="2613" y="680"/>
                  </a:lnTo>
                  <a:lnTo>
                    <a:pt x="2613" y="11"/>
                  </a:lnTo>
                  <a:lnTo>
                    <a:pt x="2398" y="11"/>
                  </a:lnTo>
                  <a:lnTo>
                    <a:pt x="2398" y="259"/>
                  </a:lnTo>
                  <a:close/>
                  <a:moveTo>
                    <a:pt x="399" y="259"/>
                  </a:moveTo>
                  <a:lnTo>
                    <a:pt x="215" y="259"/>
                  </a:lnTo>
                  <a:lnTo>
                    <a:pt x="215" y="11"/>
                  </a:lnTo>
                  <a:lnTo>
                    <a:pt x="0" y="11"/>
                  </a:lnTo>
                  <a:lnTo>
                    <a:pt x="0" y="680"/>
                  </a:lnTo>
                  <a:lnTo>
                    <a:pt x="215" y="680"/>
                  </a:lnTo>
                  <a:lnTo>
                    <a:pt x="215" y="443"/>
                  </a:lnTo>
                  <a:lnTo>
                    <a:pt x="399" y="443"/>
                  </a:lnTo>
                  <a:lnTo>
                    <a:pt x="399" y="680"/>
                  </a:lnTo>
                  <a:lnTo>
                    <a:pt x="614" y="680"/>
                  </a:lnTo>
                  <a:lnTo>
                    <a:pt x="614" y="11"/>
                  </a:lnTo>
                  <a:lnTo>
                    <a:pt x="399" y="11"/>
                  </a:lnTo>
                  <a:lnTo>
                    <a:pt x="399" y="259"/>
                  </a:lnTo>
                  <a:close/>
                </a:path>
              </a:pathLst>
            </a:custGeom>
            <a:solidFill>
              <a:srgbClr val="62626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19" name="Freeform 171">
              <a:extLst>
                <a:ext uri="{FF2B5EF4-FFF2-40B4-BE49-F238E27FC236}">
                  <a16:creationId xmlns:a16="http://schemas.microsoft.com/office/drawing/2014/main" id="{8B964A30-531E-4A9F-8DE7-8DEF65D18A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0" y="1132"/>
              <a:ext cx="482" cy="965"/>
            </a:xfrm>
            <a:custGeom>
              <a:avLst/>
              <a:gdLst>
                <a:gd name="T0" fmla="*/ 0 w 482"/>
                <a:gd name="T1" fmla="*/ 640 h 965"/>
                <a:gd name="T2" fmla="*/ 482 w 482"/>
                <a:gd name="T3" fmla="*/ 965 h 965"/>
                <a:gd name="T4" fmla="*/ 482 w 482"/>
                <a:gd name="T5" fmla="*/ 325 h 965"/>
                <a:gd name="T6" fmla="*/ 0 w 482"/>
                <a:gd name="T7" fmla="*/ 0 h 965"/>
                <a:gd name="T8" fmla="*/ 0 w 482"/>
                <a:gd name="T9" fmla="*/ 64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2" h="965">
                  <a:moveTo>
                    <a:pt x="0" y="640"/>
                  </a:moveTo>
                  <a:lnTo>
                    <a:pt x="482" y="965"/>
                  </a:lnTo>
                  <a:lnTo>
                    <a:pt x="482" y="325"/>
                  </a:lnTo>
                  <a:lnTo>
                    <a:pt x="0" y="0"/>
                  </a:lnTo>
                  <a:lnTo>
                    <a:pt x="0" y="640"/>
                  </a:lnTo>
                  <a:close/>
                </a:path>
              </a:pathLst>
            </a:custGeom>
            <a:solidFill>
              <a:srgbClr val="0058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0" name="Freeform 172">
              <a:extLst>
                <a:ext uri="{FF2B5EF4-FFF2-40B4-BE49-F238E27FC236}">
                  <a16:creationId xmlns:a16="http://schemas.microsoft.com/office/drawing/2014/main" id="{50E4F648-A841-4370-A307-8BF8BE154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8" y="1132"/>
              <a:ext cx="482" cy="965"/>
            </a:xfrm>
            <a:custGeom>
              <a:avLst/>
              <a:gdLst>
                <a:gd name="T0" fmla="*/ 1004 w 1004"/>
                <a:gd name="T1" fmla="*/ 0 h 2008"/>
                <a:gd name="T2" fmla="*/ 0 w 1004"/>
                <a:gd name="T3" fmla="*/ 1004 h 2008"/>
                <a:gd name="T4" fmla="*/ 1004 w 1004"/>
                <a:gd name="T5" fmla="*/ 2008 h 2008"/>
                <a:gd name="T6" fmla="*/ 1004 w 1004"/>
                <a:gd name="T7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1004" y="0"/>
                  </a:moveTo>
                  <a:cubicBezTo>
                    <a:pt x="449" y="0"/>
                    <a:pt x="0" y="450"/>
                    <a:pt x="0" y="1004"/>
                  </a:cubicBezTo>
                  <a:cubicBezTo>
                    <a:pt x="0" y="1558"/>
                    <a:pt x="449" y="2008"/>
                    <a:pt x="1004" y="2008"/>
                  </a:cubicBezTo>
                  <a:lnTo>
                    <a:pt x="1004" y="0"/>
                  </a:lnTo>
                  <a:close/>
                </a:path>
              </a:pathLst>
            </a:custGeom>
            <a:solidFill>
              <a:srgbClr val="0080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1" name="Freeform 173">
              <a:extLst>
                <a:ext uri="{FF2B5EF4-FFF2-40B4-BE49-F238E27FC236}">
                  <a16:creationId xmlns:a16="http://schemas.microsoft.com/office/drawing/2014/main" id="{3B270B79-D8D1-4266-B87B-F2E3E6F760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2" y="1132"/>
              <a:ext cx="482" cy="965"/>
            </a:xfrm>
            <a:custGeom>
              <a:avLst/>
              <a:gdLst>
                <a:gd name="T0" fmla="*/ 0 w 1004"/>
                <a:gd name="T1" fmla="*/ 2008 h 2008"/>
                <a:gd name="T2" fmla="*/ 1004 w 1004"/>
                <a:gd name="T3" fmla="*/ 1004 h 2008"/>
                <a:gd name="T4" fmla="*/ 0 w 1004"/>
                <a:gd name="T5" fmla="*/ 0 h 2008"/>
                <a:gd name="T6" fmla="*/ 0 w 1004"/>
                <a:gd name="T7" fmla="*/ 2008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0" y="2008"/>
                  </a:moveTo>
                  <a:cubicBezTo>
                    <a:pt x="554" y="2008"/>
                    <a:pt x="1004" y="1558"/>
                    <a:pt x="1004" y="1004"/>
                  </a:cubicBezTo>
                  <a:cubicBezTo>
                    <a:pt x="1004" y="450"/>
                    <a:pt x="554" y="0"/>
                    <a:pt x="0" y="0"/>
                  </a:cubicBezTo>
                  <a:lnTo>
                    <a:pt x="0" y="2008"/>
                  </a:lnTo>
                  <a:close/>
                </a:path>
              </a:pathLst>
            </a:custGeom>
            <a:solidFill>
              <a:srgbClr val="0080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25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7006" y="6327649"/>
            <a:ext cx="732565" cy="365125"/>
          </a:xfrm>
          <a:prstGeom prst="rect">
            <a:avLst/>
          </a:prstGeom>
        </p:spPr>
        <p:txBody>
          <a:bodyPr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B06EC4-1553-4EEC-8AFC-5F4512671736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6262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816080" y="1241587"/>
            <a:ext cx="4968000" cy="2052000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то места происшествия</a:t>
            </a:r>
          </a:p>
          <a:p>
            <a:pPr algn="just"/>
            <a:endParaRPr lang="ru-RU" sz="1200" dirty="0"/>
          </a:p>
          <a:p>
            <a:pPr algn="just"/>
            <a:endParaRPr lang="ru-RU" sz="1200" dirty="0" smtClean="0"/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816080" y="3434068"/>
            <a:ext cx="4968000" cy="2412000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хема места происшествия</a:t>
            </a:r>
          </a:p>
          <a:p>
            <a:pPr algn="just"/>
            <a:endParaRPr lang="ru-RU" sz="1200" dirty="0"/>
          </a:p>
          <a:p>
            <a:pPr algn="just"/>
            <a:endParaRPr lang="ru-RU" sz="1200" dirty="0" smtClean="0"/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  <a:p>
            <a:pPr algn="just"/>
            <a:endParaRPr lang="ru-RU" sz="1000" dirty="0" smtClean="0">
              <a:solidFill>
                <a:schemeClr val="tx2"/>
              </a:solidFill>
            </a:endParaRPr>
          </a:p>
          <a:p>
            <a:pPr algn="just"/>
            <a:endParaRPr lang="ru-RU" sz="1000" dirty="0">
              <a:solidFill>
                <a:schemeClr val="tx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70152" y="6395871"/>
            <a:ext cx="6096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kumimoji="0" lang="ru-RU" sz="700" dirty="0">
                <a:solidFill>
                  <a:srgbClr val="1F497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Слайды презентации по результатам расследования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07368" y="4654007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auto">
              <a:spcBef>
                <a:spcPts val="600"/>
              </a:spcBef>
              <a:spcAft>
                <a:spcPts val="300"/>
              </a:spcAft>
              <a:defRPr/>
            </a:pPr>
            <a:r>
              <a:rPr kumimoji="0" lang="ru-RU" sz="12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</a:t>
            </a:r>
            <a:r>
              <a:rPr kumimoji="0" lang="ru-RU" sz="120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новленные факты к непосредственным и основным причинам происшествия</a:t>
            </a:r>
            <a:endParaRPr kumimoji="0" lang="ru-RU" sz="1200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497283" y="241903"/>
            <a:ext cx="9086664" cy="33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ВАНИЕ </a:t>
            </a:r>
            <a:r>
              <a:rPr lang="ru-RU" sz="2400" dirty="0" smtClean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СШЕСТВИЯ</a:t>
            </a:r>
            <a:endParaRPr lang="ru-RU" sz="2400" dirty="0">
              <a:solidFill>
                <a:srgbClr val="0077C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97283" y="615163"/>
            <a:ext cx="9086664" cy="2769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rgbClr val="62626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ДСТВИЕ </a:t>
            </a:r>
            <a:r>
              <a:rPr lang="ru-RU" sz="2000" dirty="0" smtClean="0">
                <a:solidFill>
                  <a:srgbClr val="62626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СШЕСТВИЯ</a:t>
            </a:r>
            <a:endParaRPr lang="ru-RU" sz="2000" dirty="0">
              <a:solidFill>
                <a:srgbClr val="62626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036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9">
            <a:extLst>
              <a:ext uri="{FF2B5EF4-FFF2-40B4-BE49-F238E27FC236}">
                <a16:creationId xmlns:a16="http://schemas.microsoft.com/office/drawing/2014/main" id="{74DCC01F-E399-416C-ACB6-6FD420F452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19544" y="220314"/>
            <a:ext cx="982383" cy="206717"/>
            <a:chOff x="578" y="1132"/>
            <a:chExt cx="4586" cy="965"/>
          </a:xfrm>
        </p:grpSpPr>
        <p:sp>
          <p:nvSpPr>
            <p:cNvPr id="18" name="Freeform 170">
              <a:extLst>
                <a:ext uri="{FF2B5EF4-FFF2-40B4-BE49-F238E27FC236}">
                  <a16:creationId xmlns:a16="http://schemas.microsoft.com/office/drawing/2014/main" id="{8E1F1075-FACF-4C22-AABE-56A5E1418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13" y="1448"/>
              <a:ext cx="2851" cy="333"/>
            </a:xfrm>
            <a:custGeom>
              <a:avLst/>
              <a:gdLst>
                <a:gd name="T0" fmla="*/ 2911 w 5938"/>
                <a:gd name="T1" fmla="*/ 11 h 694"/>
                <a:gd name="T2" fmla="*/ 2707 w 5938"/>
                <a:gd name="T3" fmla="*/ 680 h 694"/>
                <a:gd name="T4" fmla="*/ 3117 w 5938"/>
                <a:gd name="T5" fmla="*/ 344 h 694"/>
                <a:gd name="T6" fmla="*/ 3321 w 5938"/>
                <a:gd name="T7" fmla="*/ 680 h 694"/>
                <a:gd name="T8" fmla="*/ 3132 w 5938"/>
                <a:gd name="T9" fmla="*/ 11 h 694"/>
                <a:gd name="T10" fmla="*/ 1735 w 5938"/>
                <a:gd name="T11" fmla="*/ 282 h 694"/>
                <a:gd name="T12" fmla="*/ 1588 w 5938"/>
                <a:gd name="T13" fmla="*/ 353 h 694"/>
                <a:gd name="T14" fmla="*/ 1669 w 5938"/>
                <a:gd name="T15" fmla="*/ 176 h 694"/>
                <a:gd name="T16" fmla="*/ 1735 w 5938"/>
                <a:gd name="T17" fmla="*/ 282 h 694"/>
                <a:gd name="T18" fmla="*/ 1372 w 5938"/>
                <a:gd name="T19" fmla="*/ 11 h 694"/>
                <a:gd name="T20" fmla="*/ 1588 w 5938"/>
                <a:gd name="T21" fmla="*/ 680 h 694"/>
                <a:gd name="T22" fmla="*/ 1691 w 5938"/>
                <a:gd name="T23" fmla="*/ 516 h 694"/>
                <a:gd name="T24" fmla="*/ 1944 w 5938"/>
                <a:gd name="T25" fmla="*/ 225 h 694"/>
                <a:gd name="T26" fmla="*/ 4741 w 5938"/>
                <a:gd name="T27" fmla="*/ 365 h 694"/>
                <a:gd name="T28" fmla="*/ 4613 w 5938"/>
                <a:gd name="T29" fmla="*/ 506 h 694"/>
                <a:gd name="T30" fmla="*/ 4697 w 5938"/>
                <a:gd name="T31" fmla="*/ 680 h 694"/>
                <a:gd name="T32" fmla="*/ 4948 w 5938"/>
                <a:gd name="T33" fmla="*/ 186 h 694"/>
                <a:gd name="T34" fmla="*/ 5069 w 5938"/>
                <a:gd name="T35" fmla="*/ 680 h 694"/>
                <a:gd name="T36" fmla="*/ 5284 w 5938"/>
                <a:gd name="T37" fmla="*/ 11 h 694"/>
                <a:gd name="T38" fmla="*/ 4741 w 5938"/>
                <a:gd name="T39" fmla="*/ 365 h 694"/>
                <a:gd name="T40" fmla="*/ 1003 w 5938"/>
                <a:gd name="T41" fmla="*/ 536 h 694"/>
                <a:gd name="T42" fmla="*/ 904 w 5938"/>
                <a:gd name="T43" fmla="*/ 455 h 694"/>
                <a:gd name="T44" fmla="*/ 984 w 5938"/>
                <a:gd name="T45" fmla="*/ 158 h 694"/>
                <a:gd name="T46" fmla="*/ 1083 w 5938"/>
                <a:gd name="T47" fmla="*/ 238 h 694"/>
                <a:gd name="T48" fmla="*/ 1046 w 5938"/>
                <a:gd name="T49" fmla="*/ 0 h 694"/>
                <a:gd name="T50" fmla="*/ 687 w 5938"/>
                <a:gd name="T51" fmla="*/ 254 h 694"/>
                <a:gd name="T52" fmla="*/ 941 w 5938"/>
                <a:gd name="T53" fmla="*/ 694 h 694"/>
                <a:gd name="T54" fmla="*/ 1299 w 5938"/>
                <a:gd name="T55" fmla="*/ 440 h 694"/>
                <a:gd name="T56" fmla="*/ 1046 w 5938"/>
                <a:gd name="T57" fmla="*/ 0 h 694"/>
                <a:gd name="T58" fmla="*/ 3798 w 5938"/>
                <a:gd name="T59" fmla="*/ 11 h 694"/>
                <a:gd name="T60" fmla="*/ 3631 w 5938"/>
                <a:gd name="T61" fmla="*/ 264 h 694"/>
                <a:gd name="T62" fmla="*/ 3416 w 5938"/>
                <a:gd name="T63" fmla="*/ 11 h 694"/>
                <a:gd name="T64" fmla="*/ 3631 w 5938"/>
                <a:gd name="T65" fmla="*/ 680 h 694"/>
                <a:gd name="T66" fmla="*/ 3684 w 5938"/>
                <a:gd name="T67" fmla="*/ 443 h 694"/>
                <a:gd name="T68" fmla="*/ 4047 w 5938"/>
                <a:gd name="T69" fmla="*/ 680 h 694"/>
                <a:gd name="T70" fmla="*/ 4031 w 5938"/>
                <a:gd name="T71" fmla="*/ 11 h 694"/>
                <a:gd name="T72" fmla="*/ 4540 w 5938"/>
                <a:gd name="T73" fmla="*/ 426 h 694"/>
                <a:gd name="T74" fmla="*/ 4297 w 5938"/>
                <a:gd name="T75" fmla="*/ 267 h 694"/>
                <a:gd name="T76" fmla="*/ 4562 w 5938"/>
                <a:gd name="T77" fmla="*/ 186 h 694"/>
                <a:gd name="T78" fmla="*/ 4082 w 5938"/>
                <a:gd name="T79" fmla="*/ 11 h 694"/>
                <a:gd name="T80" fmla="*/ 4582 w 5938"/>
                <a:gd name="T81" fmla="*/ 680 h 694"/>
                <a:gd name="T82" fmla="*/ 4297 w 5938"/>
                <a:gd name="T83" fmla="*/ 506 h 694"/>
                <a:gd name="T84" fmla="*/ 5663 w 5938"/>
                <a:gd name="T85" fmla="*/ 516 h 694"/>
                <a:gd name="T86" fmla="*/ 5582 w 5938"/>
                <a:gd name="T87" fmla="*/ 370 h 694"/>
                <a:gd name="T88" fmla="*/ 5729 w 5938"/>
                <a:gd name="T89" fmla="*/ 443 h 694"/>
                <a:gd name="T90" fmla="*/ 5685 w 5938"/>
                <a:gd name="T91" fmla="*/ 206 h 694"/>
                <a:gd name="T92" fmla="*/ 5582 w 5938"/>
                <a:gd name="T93" fmla="*/ 11 h 694"/>
                <a:gd name="T94" fmla="*/ 5366 w 5938"/>
                <a:gd name="T95" fmla="*/ 680 h 694"/>
                <a:gd name="T96" fmla="*/ 5938 w 5938"/>
                <a:gd name="T97" fmla="*/ 467 h 694"/>
                <a:gd name="T98" fmla="*/ 5685 w 5938"/>
                <a:gd name="T99" fmla="*/ 206 h 694"/>
                <a:gd name="T100" fmla="*/ 2214 w 5938"/>
                <a:gd name="T101" fmla="*/ 259 h 694"/>
                <a:gd name="T102" fmla="*/ 1999 w 5938"/>
                <a:gd name="T103" fmla="*/ 11 h 694"/>
                <a:gd name="T104" fmla="*/ 2214 w 5938"/>
                <a:gd name="T105" fmla="*/ 680 h 694"/>
                <a:gd name="T106" fmla="*/ 2398 w 5938"/>
                <a:gd name="T107" fmla="*/ 443 h 694"/>
                <a:gd name="T108" fmla="*/ 2613 w 5938"/>
                <a:gd name="T109" fmla="*/ 680 h 694"/>
                <a:gd name="T110" fmla="*/ 2398 w 5938"/>
                <a:gd name="T111" fmla="*/ 11 h 694"/>
                <a:gd name="T112" fmla="*/ 399 w 5938"/>
                <a:gd name="T113" fmla="*/ 259 h 694"/>
                <a:gd name="T114" fmla="*/ 215 w 5938"/>
                <a:gd name="T115" fmla="*/ 11 h 694"/>
                <a:gd name="T116" fmla="*/ 0 w 5938"/>
                <a:gd name="T117" fmla="*/ 680 h 694"/>
                <a:gd name="T118" fmla="*/ 215 w 5938"/>
                <a:gd name="T119" fmla="*/ 443 h 694"/>
                <a:gd name="T120" fmla="*/ 399 w 5938"/>
                <a:gd name="T121" fmla="*/ 680 h 694"/>
                <a:gd name="T122" fmla="*/ 614 w 5938"/>
                <a:gd name="T123" fmla="*/ 11 h 694"/>
                <a:gd name="T124" fmla="*/ 399 w 5938"/>
                <a:gd name="T125" fmla="*/ 259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38" h="694">
                  <a:moveTo>
                    <a:pt x="2911" y="350"/>
                  </a:moveTo>
                  <a:lnTo>
                    <a:pt x="2911" y="11"/>
                  </a:lnTo>
                  <a:lnTo>
                    <a:pt x="2707" y="11"/>
                  </a:lnTo>
                  <a:lnTo>
                    <a:pt x="2707" y="680"/>
                  </a:lnTo>
                  <a:lnTo>
                    <a:pt x="2896" y="680"/>
                  </a:lnTo>
                  <a:lnTo>
                    <a:pt x="3117" y="344"/>
                  </a:lnTo>
                  <a:lnTo>
                    <a:pt x="3117" y="680"/>
                  </a:lnTo>
                  <a:lnTo>
                    <a:pt x="3321" y="680"/>
                  </a:lnTo>
                  <a:lnTo>
                    <a:pt x="3321" y="11"/>
                  </a:lnTo>
                  <a:lnTo>
                    <a:pt x="3132" y="11"/>
                  </a:lnTo>
                  <a:lnTo>
                    <a:pt x="2911" y="350"/>
                  </a:lnTo>
                  <a:close/>
                  <a:moveTo>
                    <a:pt x="1735" y="282"/>
                  </a:moveTo>
                  <a:cubicBezTo>
                    <a:pt x="1735" y="306"/>
                    <a:pt x="1722" y="353"/>
                    <a:pt x="1660" y="353"/>
                  </a:cubicBezTo>
                  <a:lnTo>
                    <a:pt x="1588" y="353"/>
                  </a:lnTo>
                  <a:lnTo>
                    <a:pt x="1588" y="176"/>
                  </a:lnTo>
                  <a:lnTo>
                    <a:pt x="1669" y="176"/>
                  </a:lnTo>
                  <a:cubicBezTo>
                    <a:pt x="1691" y="176"/>
                    <a:pt x="1735" y="194"/>
                    <a:pt x="1735" y="246"/>
                  </a:cubicBezTo>
                  <a:lnTo>
                    <a:pt x="1735" y="282"/>
                  </a:lnTo>
                  <a:close/>
                  <a:moveTo>
                    <a:pt x="1691" y="11"/>
                  </a:moveTo>
                  <a:lnTo>
                    <a:pt x="1372" y="11"/>
                  </a:lnTo>
                  <a:lnTo>
                    <a:pt x="1372" y="680"/>
                  </a:lnTo>
                  <a:lnTo>
                    <a:pt x="1588" y="680"/>
                  </a:lnTo>
                  <a:lnTo>
                    <a:pt x="1588" y="516"/>
                  </a:lnTo>
                  <a:lnTo>
                    <a:pt x="1691" y="516"/>
                  </a:lnTo>
                  <a:cubicBezTo>
                    <a:pt x="1830" y="516"/>
                    <a:pt x="1944" y="439"/>
                    <a:pt x="1944" y="303"/>
                  </a:cubicBezTo>
                  <a:lnTo>
                    <a:pt x="1944" y="225"/>
                  </a:lnTo>
                  <a:cubicBezTo>
                    <a:pt x="1944" y="88"/>
                    <a:pt x="1830" y="11"/>
                    <a:pt x="1691" y="11"/>
                  </a:cubicBezTo>
                  <a:close/>
                  <a:moveTo>
                    <a:pt x="4741" y="365"/>
                  </a:moveTo>
                  <a:cubicBezTo>
                    <a:pt x="4741" y="467"/>
                    <a:pt x="4714" y="482"/>
                    <a:pt x="4675" y="500"/>
                  </a:cubicBezTo>
                  <a:cubicBezTo>
                    <a:pt x="4659" y="508"/>
                    <a:pt x="4613" y="506"/>
                    <a:pt x="4613" y="506"/>
                  </a:cubicBezTo>
                  <a:lnTo>
                    <a:pt x="4613" y="680"/>
                  </a:lnTo>
                  <a:lnTo>
                    <a:pt x="4697" y="680"/>
                  </a:lnTo>
                  <a:cubicBezTo>
                    <a:pt x="4879" y="680"/>
                    <a:pt x="4946" y="575"/>
                    <a:pt x="4948" y="339"/>
                  </a:cubicBezTo>
                  <a:cubicBezTo>
                    <a:pt x="4949" y="285"/>
                    <a:pt x="4948" y="233"/>
                    <a:pt x="4948" y="186"/>
                  </a:cubicBezTo>
                  <a:lnTo>
                    <a:pt x="5069" y="186"/>
                  </a:lnTo>
                  <a:lnTo>
                    <a:pt x="5069" y="680"/>
                  </a:lnTo>
                  <a:lnTo>
                    <a:pt x="5284" y="680"/>
                  </a:lnTo>
                  <a:lnTo>
                    <a:pt x="5284" y="11"/>
                  </a:lnTo>
                  <a:lnTo>
                    <a:pt x="4741" y="11"/>
                  </a:lnTo>
                  <a:lnTo>
                    <a:pt x="4741" y="365"/>
                  </a:lnTo>
                  <a:close/>
                  <a:moveTo>
                    <a:pt x="1083" y="455"/>
                  </a:moveTo>
                  <a:cubicBezTo>
                    <a:pt x="1083" y="500"/>
                    <a:pt x="1047" y="536"/>
                    <a:pt x="1003" y="536"/>
                  </a:cubicBezTo>
                  <a:lnTo>
                    <a:pt x="984" y="536"/>
                  </a:lnTo>
                  <a:cubicBezTo>
                    <a:pt x="940" y="536"/>
                    <a:pt x="904" y="500"/>
                    <a:pt x="904" y="455"/>
                  </a:cubicBezTo>
                  <a:lnTo>
                    <a:pt x="904" y="238"/>
                  </a:lnTo>
                  <a:cubicBezTo>
                    <a:pt x="904" y="194"/>
                    <a:pt x="940" y="158"/>
                    <a:pt x="984" y="158"/>
                  </a:cubicBezTo>
                  <a:lnTo>
                    <a:pt x="1003" y="158"/>
                  </a:lnTo>
                  <a:cubicBezTo>
                    <a:pt x="1047" y="158"/>
                    <a:pt x="1083" y="194"/>
                    <a:pt x="1083" y="238"/>
                  </a:cubicBezTo>
                  <a:lnTo>
                    <a:pt x="1083" y="455"/>
                  </a:lnTo>
                  <a:close/>
                  <a:moveTo>
                    <a:pt x="1046" y="0"/>
                  </a:moveTo>
                  <a:lnTo>
                    <a:pt x="941" y="0"/>
                  </a:lnTo>
                  <a:cubicBezTo>
                    <a:pt x="801" y="0"/>
                    <a:pt x="687" y="100"/>
                    <a:pt x="687" y="254"/>
                  </a:cubicBezTo>
                  <a:lnTo>
                    <a:pt x="687" y="440"/>
                  </a:lnTo>
                  <a:cubicBezTo>
                    <a:pt x="687" y="595"/>
                    <a:pt x="801" y="694"/>
                    <a:pt x="941" y="694"/>
                  </a:cubicBezTo>
                  <a:lnTo>
                    <a:pt x="1046" y="694"/>
                  </a:lnTo>
                  <a:cubicBezTo>
                    <a:pt x="1185" y="694"/>
                    <a:pt x="1299" y="594"/>
                    <a:pt x="1299" y="440"/>
                  </a:cubicBezTo>
                  <a:lnTo>
                    <a:pt x="1299" y="254"/>
                  </a:lnTo>
                  <a:cubicBezTo>
                    <a:pt x="1299" y="91"/>
                    <a:pt x="1185" y="0"/>
                    <a:pt x="1046" y="0"/>
                  </a:cubicBezTo>
                  <a:close/>
                  <a:moveTo>
                    <a:pt x="4031" y="11"/>
                  </a:moveTo>
                  <a:lnTo>
                    <a:pt x="3798" y="11"/>
                  </a:lnTo>
                  <a:lnTo>
                    <a:pt x="3684" y="264"/>
                  </a:lnTo>
                  <a:lnTo>
                    <a:pt x="3631" y="264"/>
                  </a:lnTo>
                  <a:lnTo>
                    <a:pt x="3631" y="11"/>
                  </a:lnTo>
                  <a:lnTo>
                    <a:pt x="3416" y="11"/>
                  </a:lnTo>
                  <a:lnTo>
                    <a:pt x="3416" y="680"/>
                  </a:lnTo>
                  <a:lnTo>
                    <a:pt x="3631" y="680"/>
                  </a:lnTo>
                  <a:lnTo>
                    <a:pt x="3631" y="443"/>
                  </a:lnTo>
                  <a:lnTo>
                    <a:pt x="3684" y="443"/>
                  </a:lnTo>
                  <a:lnTo>
                    <a:pt x="3800" y="680"/>
                  </a:lnTo>
                  <a:lnTo>
                    <a:pt x="4047" y="680"/>
                  </a:lnTo>
                  <a:lnTo>
                    <a:pt x="3864" y="343"/>
                  </a:lnTo>
                  <a:lnTo>
                    <a:pt x="4031" y="11"/>
                  </a:lnTo>
                  <a:close/>
                  <a:moveTo>
                    <a:pt x="4297" y="426"/>
                  </a:moveTo>
                  <a:lnTo>
                    <a:pt x="4540" y="426"/>
                  </a:lnTo>
                  <a:lnTo>
                    <a:pt x="4540" y="267"/>
                  </a:lnTo>
                  <a:lnTo>
                    <a:pt x="4297" y="267"/>
                  </a:lnTo>
                  <a:lnTo>
                    <a:pt x="4297" y="186"/>
                  </a:lnTo>
                  <a:lnTo>
                    <a:pt x="4562" y="186"/>
                  </a:lnTo>
                  <a:lnTo>
                    <a:pt x="4562" y="11"/>
                  </a:lnTo>
                  <a:lnTo>
                    <a:pt x="4082" y="11"/>
                  </a:lnTo>
                  <a:lnTo>
                    <a:pt x="4082" y="680"/>
                  </a:lnTo>
                  <a:lnTo>
                    <a:pt x="4582" y="680"/>
                  </a:lnTo>
                  <a:lnTo>
                    <a:pt x="4582" y="506"/>
                  </a:lnTo>
                  <a:lnTo>
                    <a:pt x="4297" y="506"/>
                  </a:lnTo>
                  <a:lnTo>
                    <a:pt x="4297" y="426"/>
                  </a:lnTo>
                  <a:close/>
                  <a:moveTo>
                    <a:pt x="5663" y="516"/>
                  </a:moveTo>
                  <a:lnTo>
                    <a:pt x="5582" y="516"/>
                  </a:lnTo>
                  <a:lnTo>
                    <a:pt x="5582" y="370"/>
                  </a:lnTo>
                  <a:lnTo>
                    <a:pt x="5654" y="370"/>
                  </a:lnTo>
                  <a:cubicBezTo>
                    <a:pt x="5715" y="370"/>
                    <a:pt x="5729" y="414"/>
                    <a:pt x="5729" y="443"/>
                  </a:cubicBezTo>
                  <a:cubicBezTo>
                    <a:pt x="5729" y="503"/>
                    <a:pt x="5679" y="516"/>
                    <a:pt x="5663" y="516"/>
                  </a:cubicBezTo>
                  <a:close/>
                  <a:moveTo>
                    <a:pt x="5685" y="206"/>
                  </a:moveTo>
                  <a:lnTo>
                    <a:pt x="5582" y="206"/>
                  </a:lnTo>
                  <a:lnTo>
                    <a:pt x="5582" y="11"/>
                  </a:lnTo>
                  <a:lnTo>
                    <a:pt x="5366" y="11"/>
                  </a:lnTo>
                  <a:lnTo>
                    <a:pt x="5366" y="680"/>
                  </a:lnTo>
                  <a:lnTo>
                    <a:pt x="5685" y="680"/>
                  </a:lnTo>
                  <a:cubicBezTo>
                    <a:pt x="5824" y="680"/>
                    <a:pt x="5938" y="604"/>
                    <a:pt x="5938" y="467"/>
                  </a:cubicBezTo>
                  <a:lnTo>
                    <a:pt x="5938" y="420"/>
                  </a:lnTo>
                  <a:cubicBezTo>
                    <a:pt x="5938" y="283"/>
                    <a:pt x="5824" y="206"/>
                    <a:pt x="5685" y="206"/>
                  </a:cubicBezTo>
                  <a:close/>
                  <a:moveTo>
                    <a:pt x="2398" y="259"/>
                  </a:moveTo>
                  <a:lnTo>
                    <a:pt x="2214" y="259"/>
                  </a:lnTo>
                  <a:lnTo>
                    <a:pt x="2214" y="11"/>
                  </a:lnTo>
                  <a:lnTo>
                    <a:pt x="1999" y="11"/>
                  </a:lnTo>
                  <a:lnTo>
                    <a:pt x="1999" y="680"/>
                  </a:lnTo>
                  <a:lnTo>
                    <a:pt x="2214" y="680"/>
                  </a:lnTo>
                  <a:lnTo>
                    <a:pt x="2214" y="443"/>
                  </a:lnTo>
                  <a:lnTo>
                    <a:pt x="2398" y="443"/>
                  </a:lnTo>
                  <a:lnTo>
                    <a:pt x="2398" y="680"/>
                  </a:lnTo>
                  <a:lnTo>
                    <a:pt x="2613" y="680"/>
                  </a:lnTo>
                  <a:lnTo>
                    <a:pt x="2613" y="11"/>
                  </a:lnTo>
                  <a:lnTo>
                    <a:pt x="2398" y="11"/>
                  </a:lnTo>
                  <a:lnTo>
                    <a:pt x="2398" y="259"/>
                  </a:lnTo>
                  <a:close/>
                  <a:moveTo>
                    <a:pt x="399" y="259"/>
                  </a:moveTo>
                  <a:lnTo>
                    <a:pt x="215" y="259"/>
                  </a:lnTo>
                  <a:lnTo>
                    <a:pt x="215" y="11"/>
                  </a:lnTo>
                  <a:lnTo>
                    <a:pt x="0" y="11"/>
                  </a:lnTo>
                  <a:lnTo>
                    <a:pt x="0" y="680"/>
                  </a:lnTo>
                  <a:lnTo>
                    <a:pt x="215" y="680"/>
                  </a:lnTo>
                  <a:lnTo>
                    <a:pt x="215" y="443"/>
                  </a:lnTo>
                  <a:lnTo>
                    <a:pt x="399" y="443"/>
                  </a:lnTo>
                  <a:lnTo>
                    <a:pt x="399" y="680"/>
                  </a:lnTo>
                  <a:lnTo>
                    <a:pt x="614" y="680"/>
                  </a:lnTo>
                  <a:lnTo>
                    <a:pt x="614" y="11"/>
                  </a:lnTo>
                  <a:lnTo>
                    <a:pt x="399" y="11"/>
                  </a:lnTo>
                  <a:lnTo>
                    <a:pt x="399" y="259"/>
                  </a:lnTo>
                  <a:close/>
                </a:path>
              </a:pathLst>
            </a:custGeom>
            <a:solidFill>
              <a:srgbClr val="62626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19" name="Freeform 171">
              <a:extLst>
                <a:ext uri="{FF2B5EF4-FFF2-40B4-BE49-F238E27FC236}">
                  <a16:creationId xmlns:a16="http://schemas.microsoft.com/office/drawing/2014/main" id="{8B964A30-531E-4A9F-8DE7-8DEF65D18A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0" y="1132"/>
              <a:ext cx="482" cy="965"/>
            </a:xfrm>
            <a:custGeom>
              <a:avLst/>
              <a:gdLst>
                <a:gd name="T0" fmla="*/ 0 w 482"/>
                <a:gd name="T1" fmla="*/ 640 h 965"/>
                <a:gd name="T2" fmla="*/ 482 w 482"/>
                <a:gd name="T3" fmla="*/ 965 h 965"/>
                <a:gd name="T4" fmla="*/ 482 w 482"/>
                <a:gd name="T5" fmla="*/ 325 h 965"/>
                <a:gd name="T6" fmla="*/ 0 w 482"/>
                <a:gd name="T7" fmla="*/ 0 h 965"/>
                <a:gd name="T8" fmla="*/ 0 w 482"/>
                <a:gd name="T9" fmla="*/ 64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2" h="965">
                  <a:moveTo>
                    <a:pt x="0" y="640"/>
                  </a:moveTo>
                  <a:lnTo>
                    <a:pt x="482" y="965"/>
                  </a:lnTo>
                  <a:lnTo>
                    <a:pt x="482" y="325"/>
                  </a:lnTo>
                  <a:lnTo>
                    <a:pt x="0" y="0"/>
                  </a:lnTo>
                  <a:lnTo>
                    <a:pt x="0" y="640"/>
                  </a:lnTo>
                  <a:close/>
                </a:path>
              </a:pathLst>
            </a:custGeom>
            <a:solidFill>
              <a:srgbClr val="0058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0" name="Freeform 172">
              <a:extLst>
                <a:ext uri="{FF2B5EF4-FFF2-40B4-BE49-F238E27FC236}">
                  <a16:creationId xmlns:a16="http://schemas.microsoft.com/office/drawing/2014/main" id="{50E4F648-A841-4370-A307-8BF8BE154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8" y="1132"/>
              <a:ext cx="482" cy="965"/>
            </a:xfrm>
            <a:custGeom>
              <a:avLst/>
              <a:gdLst>
                <a:gd name="T0" fmla="*/ 1004 w 1004"/>
                <a:gd name="T1" fmla="*/ 0 h 2008"/>
                <a:gd name="T2" fmla="*/ 0 w 1004"/>
                <a:gd name="T3" fmla="*/ 1004 h 2008"/>
                <a:gd name="T4" fmla="*/ 1004 w 1004"/>
                <a:gd name="T5" fmla="*/ 2008 h 2008"/>
                <a:gd name="T6" fmla="*/ 1004 w 1004"/>
                <a:gd name="T7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1004" y="0"/>
                  </a:moveTo>
                  <a:cubicBezTo>
                    <a:pt x="449" y="0"/>
                    <a:pt x="0" y="450"/>
                    <a:pt x="0" y="1004"/>
                  </a:cubicBezTo>
                  <a:cubicBezTo>
                    <a:pt x="0" y="1558"/>
                    <a:pt x="449" y="2008"/>
                    <a:pt x="1004" y="2008"/>
                  </a:cubicBezTo>
                  <a:lnTo>
                    <a:pt x="1004" y="0"/>
                  </a:lnTo>
                  <a:close/>
                </a:path>
              </a:pathLst>
            </a:custGeom>
            <a:solidFill>
              <a:srgbClr val="0080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1" name="Freeform 173">
              <a:extLst>
                <a:ext uri="{FF2B5EF4-FFF2-40B4-BE49-F238E27FC236}">
                  <a16:creationId xmlns:a16="http://schemas.microsoft.com/office/drawing/2014/main" id="{3B270B79-D8D1-4266-B87B-F2E3E6F760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2" y="1132"/>
              <a:ext cx="482" cy="965"/>
            </a:xfrm>
            <a:custGeom>
              <a:avLst/>
              <a:gdLst>
                <a:gd name="T0" fmla="*/ 0 w 1004"/>
                <a:gd name="T1" fmla="*/ 2008 h 2008"/>
                <a:gd name="T2" fmla="*/ 1004 w 1004"/>
                <a:gd name="T3" fmla="*/ 1004 h 2008"/>
                <a:gd name="T4" fmla="*/ 0 w 1004"/>
                <a:gd name="T5" fmla="*/ 0 h 2008"/>
                <a:gd name="T6" fmla="*/ 0 w 1004"/>
                <a:gd name="T7" fmla="*/ 2008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0" y="2008"/>
                  </a:moveTo>
                  <a:cubicBezTo>
                    <a:pt x="554" y="2008"/>
                    <a:pt x="1004" y="1558"/>
                    <a:pt x="1004" y="1004"/>
                  </a:cubicBezTo>
                  <a:cubicBezTo>
                    <a:pt x="1004" y="450"/>
                    <a:pt x="554" y="0"/>
                    <a:pt x="0" y="0"/>
                  </a:cubicBezTo>
                  <a:lnTo>
                    <a:pt x="0" y="2008"/>
                  </a:lnTo>
                  <a:close/>
                </a:path>
              </a:pathLst>
            </a:custGeom>
            <a:solidFill>
              <a:srgbClr val="0080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25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7006" y="6327649"/>
            <a:ext cx="732565" cy="365125"/>
          </a:xfrm>
          <a:prstGeom prst="rect">
            <a:avLst/>
          </a:prstGeom>
        </p:spPr>
        <p:txBody>
          <a:bodyPr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B06EC4-1553-4EEC-8AFC-5F4512671736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6262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170152" y="6395871"/>
            <a:ext cx="6096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kumimoji="0" lang="ru-RU" sz="700" dirty="0">
                <a:solidFill>
                  <a:srgbClr val="1F497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Слайды презентации по результатам расследования»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551874" y="3198168"/>
            <a:ext cx="50882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ВО ПРИЧИН ПРОИСШЕСТВИЯ</a:t>
            </a:r>
            <a:endParaRPr lang="ru-RU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97283" y="241903"/>
            <a:ext cx="9086664" cy="33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ВАНИЕ </a:t>
            </a:r>
            <a:r>
              <a:rPr lang="ru-RU" sz="2400" dirty="0" smtClean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СШЕСТВИЯ</a:t>
            </a:r>
            <a:endParaRPr lang="ru-RU" sz="2400" dirty="0">
              <a:solidFill>
                <a:srgbClr val="0077C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97283" y="615163"/>
            <a:ext cx="9086664" cy="2769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rgbClr val="62626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ДСТВИЕ </a:t>
            </a:r>
            <a:r>
              <a:rPr lang="ru-RU" sz="2000" dirty="0" smtClean="0">
                <a:solidFill>
                  <a:srgbClr val="62626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СШЕСТВИЯ</a:t>
            </a:r>
            <a:endParaRPr lang="ru-RU" sz="2000" dirty="0">
              <a:solidFill>
                <a:srgbClr val="62626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6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9">
            <a:extLst>
              <a:ext uri="{FF2B5EF4-FFF2-40B4-BE49-F238E27FC236}">
                <a16:creationId xmlns:a16="http://schemas.microsoft.com/office/drawing/2014/main" id="{74DCC01F-E399-416C-ACB6-6FD420F452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19544" y="220314"/>
            <a:ext cx="982383" cy="206717"/>
            <a:chOff x="578" y="1132"/>
            <a:chExt cx="4586" cy="965"/>
          </a:xfrm>
        </p:grpSpPr>
        <p:sp>
          <p:nvSpPr>
            <p:cNvPr id="18" name="Freeform 170">
              <a:extLst>
                <a:ext uri="{FF2B5EF4-FFF2-40B4-BE49-F238E27FC236}">
                  <a16:creationId xmlns:a16="http://schemas.microsoft.com/office/drawing/2014/main" id="{8E1F1075-FACF-4C22-AABE-56A5E1418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13" y="1448"/>
              <a:ext cx="2851" cy="333"/>
            </a:xfrm>
            <a:custGeom>
              <a:avLst/>
              <a:gdLst>
                <a:gd name="T0" fmla="*/ 2911 w 5938"/>
                <a:gd name="T1" fmla="*/ 11 h 694"/>
                <a:gd name="T2" fmla="*/ 2707 w 5938"/>
                <a:gd name="T3" fmla="*/ 680 h 694"/>
                <a:gd name="T4" fmla="*/ 3117 w 5938"/>
                <a:gd name="T5" fmla="*/ 344 h 694"/>
                <a:gd name="T6" fmla="*/ 3321 w 5938"/>
                <a:gd name="T7" fmla="*/ 680 h 694"/>
                <a:gd name="T8" fmla="*/ 3132 w 5938"/>
                <a:gd name="T9" fmla="*/ 11 h 694"/>
                <a:gd name="T10" fmla="*/ 1735 w 5938"/>
                <a:gd name="T11" fmla="*/ 282 h 694"/>
                <a:gd name="T12" fmla="*/ 1588 w 5938"/>
                <a:gd name="T13" fmla="*/ 353 h 694"/>
                <a:gd name="T14" fmla="*/ 1669 w 5938"/>
                <a:gd name="T15" fmla="*/ 176 h 694"/>
                <a:gd name="T16" fmla="*/ 1735 w 5938"/>
                <a:gd name="T17" fmla="*/ 282 h 694"/>
                <a:gd name="T18" fmla="*/ 1372 w 5938"/>
                <a:gd name="T19" fmla="*/ 11 h 694"/>
                <a:gd name="T20" fmla="*/ 1588 w 5938"/>
                <a:gd name="T21" fmla="*/ 680 h 694"/>
                <a:gd name="T22" fmla="*/ 1691 w 5938"/>
                <a:gd name="T23" fmla="*/ 516 h 694"/>
                <a:gd name="T24" fmla="*/ 1944 w 5938"/>
                <a:gd name="T25" fmla="*/ 225 h 694"/>
                <a:gd name="T26" fmla="*/ 4741 w 5938"/>
                <a:gd name="T27" fmla="*/ 365 h 694"/>
                <a:gd name="T28" fmla="*/ 4613 w 5938"/>
                <a:gd name="T29" fmla="*/ 506 h 694"/>
                <a:gd name="T30" fmla="*/ 4697 w 5938"/>
                <a:gd name="T31" fmla="*/ 680 h 694"/>
                <a:gd name="T32" fmla="*/ 4948 w 5938"/>
                <a:gd name="T33" fmla="*/ 186 h 694"/>
                <a:gd name="T34" fmla="*/ 5069 w 5938"/>
                <a:gd name="T35" fmla="*/ 680 h 694"/>
                <a:gd name="T36" fmla="*/ 5284 w 5938"/>
                <a:gd name="T37" fmla="*/ 11 h 694"/>
                <a:gd name="T38" fmla="*/ 4741 w 5938"/>
                <a:gd name="T39" fmla="*/ 365 h 694"/>
                <a:gd name="T40" fmla="*/ 1003 w 5938"/>
                <a:gd name="T41" fmla="*/ 536 h 694"/>
                <a:gd name="T42" fmla="*/ 904 w 5938"/>
                <a:gd name="T43" fmla="*/ 455 h 694"/>
                <a:gd name="T44" fmla="*/ 984 w 5938"/>
                <a:gd name="T45" fmla="*/ 158 h 694"/>
                <a:gd name="T46" fmla="*/ 1083 w 5938"/>
                <a:gd name="T47" fmla="*/ 238 h 694"/>
                <a:gd name="T48" fmla="*/ 1046 w 5938"/>
                <a:gd name="T49" fmla="*/ 0 h 694"/>
                <a:gd name="T50" fmla="*/ 687 w 5938"/>
                <a:gd name="T51" fmla="*/ 254 h 694"/>
                <a:gd name="T52" fmla="*/ 941 w 5938"/>
                <a:gd name="T53" fmla="*/ 694 h 694"/>
                <a:gd name="T54" fmla="*/ 1299 w 5938"/>
                <a:gd name="T55" fmla="*/ 440 h 694"/>
                <a:gd name="T56" fmla="*/ 1046 w 5938"/>
                <a:gd name="T57" fmla="*/ 0 h 694"/>
                <a:gd name="T58" fmla="*/ 3798 w 5938"/>
                <a:gd name="T59" fmla="*/ 11 h 694"/>
                <a:gd name="T60" fmla="*/ 3631 w 5938"/>
                <a:gd name="T61" fmla="*/ 264 h 694"/>
                <a:gd name="T62" fmla="*/ 3416 w 5938"/>
                <a:gd name="T63" fmla="*/ 11 h 694"/>
                <a:gd name="T64" fmla="*/ 3631 w 5938"/>
                <a:gd name="T65" fmla="*/ 680 h 694"/>
                <a:gd name="T66" fmla="*/ 3684 w 5938"/>
                <a:gd name="T67" fmla="*/ 443 h 694"/>
                <a:gd name="T68" fmla="*/ 4047 w 5938"/>
                <a:gd name="T69" fmla="*/ 680 h 694"/>
                <a:gd name="T70" fmla="*/ 4031 w 5938"/>
                <a:gd name="T71" fmla="*/ 11 h 694"/>
                <a:gd name="T72" fmla="*/ 4540 w 5938"/>
                <a:gd name="T73" fmla="*/ 426 h 694"/>
                <a:gd name="T74" fmla="*/ 4297 w 5938"/>
                <a:gd name="T75" fmla="*/ 267 h 694"/>
                <a:gd name="T76" fmla="*/ 4562 w 5938"/>
                <a:gd name="T77" fmla="*/ 186 h 694"/>
                <a:gd name="T78" fmla="*/ 4082 w 5938"/>
                <a:gd name="T79" fmla="*/ 11 h 694"/>
                <a:gd name="T80" fmla="*/ 4582 w 5938"/>
                <a:gd name="T81" fmla="*/ 680 h 694"/>
                <a:gd name="T82" fmla="*/ 4297 w 5938"/>
                <a:gd name="T83" fmla="*/ 506 h 694"/>
                <a:gd name="T84" fmla="*/ 5663 w 5938"/>
                <a:gd name="T85" fmla="*/ 516 h 694"/>
                <a:gd name="T86" fmla="*/ 5582 w 5938"/>
                <a:gd name="T87" fmla="*/ 370 h 694"/>
                <a:gd name="T88" fmla="*/ 5729 w 5938"/>
                <a:gd name="T89" fmla="*/ 443 h 694"/>
                <a:gd name="T90" fmla="*/ 5685 w 5938"/>
                <a:gd name="T91" fmla="*/ 206 h 694"/>
                <a:gd name="T92" fmla="*/ 5582 w 5938"/>
                <a:gd name="T93" fmla="*/ 11 h 694"/>
                <a:gd name="T94" fmla="*/ 5366 w 5938"/>
                <a:gd name="T95" fmla="*/ 680 h 694"/>
                <a:gd name="T96" fmla="*/ 5938 w 5938"/>
                <a:gd name="T97" fmla="*/ 467 h 694"/>
                <a:gd name="T98" fmla="*/ 5685 w 5938"/>
                <a:gd name="T99" fmla="*/ 206 h 694"/>
                <a:gd name="T100" fmla="*/ 2214 w 5938"/>
                <a:gd name="T101" fmla="*/ 259 h 694"/>
                <a:gd name="T102" fmla="*/ 1999 w 5938"/>
                <a:gd name="T103" fmla="*/ 11 h 694"/>
                <a:gd name="T104" fmla="*/ 2214 w 5938"/>
                <a:gd name="T105" fmla="*/ 680 h 694"/>
                <a:gd name="T106" fmla="*/ 2398 w 5938"/>
                <a:gd name="T107" fmla="*/ 443 h 694"/>
                <a:gd name="T108" fmla="*/ 2613 w 5938"/>
                <a:gd name="T109" fmla="*/ 680 h 694"/>
                <a:gd name="T110" fmla="*/ 2398 w 5938"/>
                <a:gd name="T111" fmla="*/ 11 h 694"/>
                <a:gd name="T112" fmla="*/ 399 w 5938"/>
                <a:gd name="T113" fmla="*/ 259 h 694"/>
                <a:gd name="T114" fmla="*/ 215 w 5938"/>
                <a:gd name="T115" fmla="*/ 11 h 694"/>
                <a:gd name="T116" fmla="*/ 0 w 5938"/>
                <a:gd name="T117" fmla="*/ 680 h 694"/>
                <a:gd name="T118" fmla="*/ 215 w 5938"/>
                <a:gd name="T119" fmla="*/ 443 h 694"/>
                <a:gd name="T120" fmla="*/ 399 w 5938"/>
                <a:gd name="T121" fmla="*/ 680 h 694"/>
                <a:gd name="T122" fmla="*/ 614 w 5938"/>
                <a:gd name="T123" fmla="*/ 11 h 694"/>
                <a:gd name="T124" fmla="*/ 399 w 5938"/>
                <a:gd name="T125" fmla="*/ 259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38" h="694">
                  <a:moveTo>
                    <a:pt x="2911" y="350"/>
                  </a:moveTo>
                  <a:lnTo>
                    <a:pt x="2911" y="11"/>
                  </a:lnTo>
                  <a:lnTo>
                    <a:pt x="2707" y="11"/>
                  </a:lnTo>
                  <a:lnTo>
                    <a:pt x="2707" y="680"/>
                  </a:lnTo>
                  <a:lnTo>
                    <a:pt x="2896" y="680"/>
                  </a:lnTo>
                  <a:lnTo>
                    <a:pt x="3117" y="344"/>
                  </a:lnTo>
                  <a:lnTo>
                    <a:pt x="3117" y="680"/>
                  </a:lnTo>
                  <a:lnTo>
                    <a:pt x="3321" y="680"/>
                  </a:lnTo>
                  <a:lnTo>
                    <a:pt x="3321" y="11"/>
                  </a:lnTo>
                  <a:lnTo>
                    <a:pt x="3132" y="11"/>
                  </a:lnTo>
                  <a:lnTo>
                    <a:pt x="2911" y="350"/>
                  </a:lnTo>
                  <a:close/>
                  <a:moveTo>
                    <a:pt x="1735" y="282"/>
                  </a:moveTo>
                  <a:cubicBezTo>
                    <a:pt x="1735" y="306"/>
                    <a:pt x="1722" y="353"/>
                    <a:pt x="1660" y="353"/>
                  </a:cubicBezTo>
                  <a:lnTo>
                    <a:pt x="1588" y="353"/>
                  </a:lnTo>
                  <a:lnTo>
                    <a:pt x="1588" y="176"/>
                  </a:lnTo>
                  <a:lnTo>
                    <a:pt x="1669" y="176"/>
                  </a:lnTo>
                  <a:cubicBezTo>
                    <a:pt x="1691" y="176"/>
                    <a:pt x="1735" y="194"/>
                    <a:pt x="1735" y="246"/>
                  </a:cubicBezTo>
                  <a:lnTo>
                    <a:pt x="1735" y="282"/>
                  </a:lnTo>
                  <a:close/>
                  <a:moveTo>
                    <a:pt x="1691" y="11"/>
                  </a:moveTo>
                  <a:lnTo>
                    <a:pt x="1372" y="11"/>
                  </a:lnTo>
                  <a:lnTo>
                    <a:pt x="1372" y="680"/>
                  </a:lnTo>
                  <a:lnTo>
                    <a:pt x="1588" y="680"/>
                  </a:lnTo>
                  <a:lnTo>
                    <a:pt x="1588" y="516"/>
                  </a:lnTo>
                  <a:lnTo>
                    <a:pt x="1691" y="516"/>
                  </a:lnTo>
                  <a:cubicBezTo>
                    <a:pt x="1830" y="516"/>
                    <a:pt x="1944" y="439"/>
                    <a:pt x="1944" y="303"/>
                  </a:cubicBezTo>
                  <a:lnTo>
                    <a:pt x="1944" y="225"/>
                  </a:lnTo>
                  <a:cubicBezTo>
                    <a:pt x="1944" y="88"/>
                    <a:pt x="1830" y="11"/>
                    <a:pt x="1691" y="11"/>
                  </a:cubicBezTo>
                  <a:close/>
                  <a:moveTo>
                    <a:pt x="4741" y="365"/>
                  </a:moveTo>
                  <a:cubicBezTo>
                    <a:pt x="4741" y="467"/>
                    <a:pt x="4714" y="482"/>
                    <a:pt x="4675" y="500"/>
                  </a:cubicBezTo>
                  <a:cubicBezTo>
                    <a:pt x="4659" y="508"/>
                    <a:pt x="4613" y="506"/>
                    <a:pt x="4613" y="506"/>
                  </a:cubicBezTo>
                  <a:lnTo>
                    <a:pt x="4613" y="680"/>
                  </a:lnTo>
                  <a:lnTo>
                    <a:pt x="4697" y="680"/>
                  </a:lnTo>
                  <a:cubicBezTo>
                    <a:pt x="4879" y="680"/>
                    <a:pt x="4946" y="575"/>
                    <a:pt x="4948" y="339"/>
                  </a:cubicBezTo>
                  <a:cubicBezTo>
                    <a:pt x="4949" y="285"/>
                    <a:pt x="4948" y="233"/>
                    <a:pt x="4948" y="186"/>
                  </a:cubicBezTo>
                  <a:lnTo>
                    <a:pt x="5069" y="186"/>
                  </a:lnTo>
                  <a:lnTo>
                    <a:pt x="5069" y="680"/>
                  </a:lnTo>
                  <a:lnTo>
                    <a:pt x="5284" y="680"/>
                  </a:lnTo>
                  <a:lnTo>
                    <a:pt x="5284" y="11"/>
                  </a:lnTo>
                  <a:lnTo>
                    <a:pt x="4741" y="11"/>
                  </a:lnTo>
                  <a:lnTo>
                    <a:pt x="4741" y="365"/>
                  </a:lnTo>
                  <a:close/>
                  <a:moveTo>
                    <a:pt x="1083" y="455"/>
                  </a:moveTo>
                  <a:cubicBezTo>
                    <a:pt x="1083" y="500"/>
                    <a:pt x="1047" y="536"/>
                    <a:pt x="1003" y="536"/>
                  </a:cubicBezTo>
                  <a:lnTo>
                    <a:pt x="984" y="536"/>
                  </a:lnTo>
                  <a:cubicBezTo>
                    <a:pt x="940" y="536"/>
                    <a:pt x="904" y="500"/>
                    <a:pt x="904" y="455"/>
                  </a:cubicBezTo>
                  <a:lnTo>
                    <a:pt x="904" y="238"/>
                  </a:lnTo>
                  <a:cubicBezTo>
                    <a:pt x="904" y="194"/>
                    <a:pt x="940" y="158"/>
                    <a:pt x="984" y="158"/>
                  </a:cubicBezTo>
                  <a:lnTo>
                    <a:pt x="1003" y="158"/>
                  </a:lnTo>
                  <a:cubicBezTo>
                    <a:pt x="1047" y="158"/>
                    <a:pt x="1083" y="194"/>
                    <a:pt x="1083" y="238"/>
                  </a:cubicBezTo>
                  <a:lnTo>
                    <a:pt x="1083" y="455"/>
                  </a:lnTo>
                  <a:close/>
                  <a:moveTo>
                    <a:pt x="1046" y="0"/>
                  </a:moveTo>
                  <a:lnTo>
                    <a:pt x="941" y="0"/>
                  </a:lnTo>
                  <a:cubicBezTo>
                    <a:pt x="801" y="0"/>
                    <a:pt x="687" y="100"/>
                    <a:pt x="687" y="254"/>
                  </a:cubicBezTo>
                  <a:lnTo>
                    <a:pt x="687" y="440"/>
                  </a:lnTo>
                  <a:cubicBezTo>
                    <a:pt x="687" y="595"/>
                    <a:pt x="801" y="694"/>
                    <a:pt x="941" y="694"/>
                  </a:cubicBezTo>
                  <a:lnTo>
                    <a:pt x="1046" y="694"/>
                  </a:lnTo>
                  <a:cubicBezTo>
                    <a:pt x="1185" y="694"/>
                    <a:pt x="1299" y="594"/>
                    <a:pt x="1299" y="440"/>
                  </a:cubicBezTo>
                  <a:lnTo>
                    <a:pt x="1299" y="254"/>
                  </a:lnTo>
                  <a:cubicBezTo>
                    <a:pt x="1299" y="91"/>
                    <a:pt x="1185" y="0"/>
                    <a:pt x="1046" y="0"/>
                  </a:cubicBezTo>
                  <a:close/>
                  <a:moveTo>
                    <a:pt x="4031" y="11"/>
                  </a:moveTo>
                  <a:lnTo>
                    <a:pt x="3798" y="11"/>
                  </a:lnTo>
                  <a:lnTo>
                    <a:pt x="3684" y="264"/>
                  </a:lnTo>
                  <a:lnTo>
                    <a:pt x="3631" y="264"/>
                  </a:lnTo>
                  <a:lnTo>
                    <a:pt x="3631" y="11"/>
                  </a:lnTo>
                  <a:lnTo>
                    <a:pt x="3416" y="11"/>
                  </a:lnTo>
                  <a:lnTo>
                    <a:pt x="3416" y="680"/>
                  </a:lnTo>
                  <a:lnTo>
                    <a:pt x="3631" y="680"/>
                  </a:lnTo>
                  <a:lnTo>
                    <a:pt x="3631" y="443"/>
                  </a:lnTo>
                  <a:lnTo>
                    <a:pt x="3684" y="443"/>
                  </a:lnTo>
                  <a:lnTo>
                    <a:pt x="3800" y="680"/>
                  </a:lnTo>
                  <a:lnTo>
                    <a:pt x="4047" y="680"/>
                  </a:lnTo>
                  <a:lnTo>
                    <a:pt x="3864" y="343"/>
                  </a:lnTo>
                  <a:lnTo>
                    <a:pt x="4031" y="11"/>
                  </a:lnTo>
                  <a:close/>
                  <a:moveTo>
                    <a:pt x="4297" y="426"/>
                  </a:moveTo>
                  <a:lnTo>
                    <a:pt x="4540" y="426"/>
                  </a:lnTo>
                  <a:lnTo>
                    <a:pt x="4540" y="267"/>
                  </a:lnTo>
                  <a:lnTo>
                    <a:pt x="4297" y="267"/>
                  </a:lnTo>
                  <a:lnTo>
                    <a:pt x="4297" y="186"/>
                  </a:lnTo>
                  <a:lnTo>
                    <a:pt x="4562" y="186"/>
                  </a:lnTo>
                  <a:lnTo>
                    <a:pt x="4562" y="11"/>
                  </a:lnTo>
                  <a:lnTo>
                    <a:pt x="4082" y="11"/>
                  </a:lnTo>
                  <a:lnTo>
                    <a:pt x="4082" y="680"/>
                  </a:lnTo>
                  <a:lnTo>
                    <a:pt x="4582" y="680"/>
                  </a:lnTo>
                  <a:lnTo>
                    <a:pt x="4582" y="506"/>
                  </a:lnTo>
                  <a:lnTo>
                    <a:pt x="4297" y="506"/>
                  </a:lnTo>
                  <a:lnTo>
                    <a:pt x="4297" y="426"/>
                  </a:lnTo>
                  <a:close/>
                  <a:moveTo>
                    <a:pt x="5663" y="516"/>
                  </a:moveTo>
                  <a:lnTo>
                    <a:pt x="5582" y="516"/>
                  </a:lnTo>
                  <a:lnTo>
                    <a:pt x="5582" y="370"/>
                  </a:lnTo>
                  <a:lnTo>
                    <a:pt x="5654" y="370"/>
                  </a:lnTo>
                  <a:cubicBezTo>
                    <a:pt x="5715" y="370"/>
                    <a:pt x="5729" y="414"/>
                    <a:pt x="5729" y="443"/>
                  </a:cubicBezTo>
                  <a:cubicBezTo>
                    <a:pt x="5729" y="503"/>
                    <a:pt x="5679" y="516"/>
                    <a:pt x="5663" y="516"/>
                  </a:cubicBezTo>
                  <a:close/>
                  <a:moveTo>
                    <a:pt x="5685" y="206"/>
                  </a:moveTo>
                  <a:lnTo>
                    <a:pt x="5582" y="206"/>
                  </a:lnTo>
                  <a:lnTo>
                    <a:pt x="5582" y="11"/>
                  </a:lnTo>
                  <a:lnTo>
                    <a:pt x="5366" y="11"/>
                  </a:lnTo>
                  <a:lnTo>
                    <a:pt x="5366" y="680"/>
                  </a:lnTo>
                  <a:lnTo>
                    <a:pt x="5685" y="680"/>
                  </a:lnTo>
                  <a:cubicBezTo>
                    <a:pt x="5824" y="680"/>
                    <a:pt x="5938" y="604"/>
                    <a:pt x="5938" y="467"/>
                  </a:cubicBezTo>
                  <a:lnTo>
                    <a:pt x="5938" y="420"/>
                  </a:lnTo>
                  <a:cubicBezTo>
                    <a:pt x="5938" y="283"/>
                    <a:pt x="5824" y="206"/>
                    <a:pt x="5685" y="206"/>
                  </a:cubicBezTo>
                  <a:close/>
                  <a:moveTo>
                    <a:pt x="2398" y="259"/>
                  </a:moveTo>
                  <a:lnTo>
                    <a:pt x="2214" y="259"/>
                  </a:lnTo>
                  <a:lnTo>
                    <a:pt x="2214" y="11"/>
                  </a:lnTo>
                  <a:lnTo>
                    <a:pt x="1999" y="11"/>
                  </a:lnTo>
                  <a:lnTo>
                    <a:pt x="1999" y="680"/>
                  </a:lnTo>
                  <a:lnTo>
                    <a:pt x="2214" y="680"/>
                  </a:lnTo>
                  <a:lnTo>
                    <a:pt x="2214" y="443"/>
                  </a:lnTo>
                  <a:lnTo>
                    <a:pt x="2398" y="443"/>
                  </a:lnTo>
                  <a:lnTo>
                    <a:pt x="2398" y="680"/>
                  </a:lnTo>
                  <a:lnTo>
                    <a:pt x="2613" y="680"/>
                  </a:lnTo>
                  <a:lnTo>
                    <a:pt x="2613" y="11"/>
                  </a:lnTo>
                  <a:lnTo>
                    <a:pt x="2398" y="11"/>
                  </a:lnTo>
                  <a:lnTo>
                    <a:pt x="2398" y="259"/>
                  </a:lnTo>
                  <a:close/>
                  <a:moveTo>
                    <a:pt x="399" y="259"/>
                  </a:moveTo>
                  <a:lnTo>
                    <a:pt x="215" y="259"/>
                  </a:lnTo>
                  <a:lnTo>
                    <a:pt x="215" y="11"/>
                  </a:lnTo>
                  <a:lnTo>
                    <a:pt x="0" y="11"/>
                  </a:lnTo>
                  <a:lnTo>
                    <a:pt x="0" y="680"/>
                  </a:lnTo>
                  <a:lnTo>
                    <a:pt x="215" y="680"/>
                  </a:lnTo>
                  <a:lnTo>
                    <a:pt x="215" y="443"/>
                  </a:lnTo>
                  <a:lnTo>
                    <a:pt x="399" y="443"/>
                  </a:lnTo>
                  <a:lnTo>
                    <a:pt x="399" y="680"/>
                  </a:lnTo>
                  <a:lnTo>
                    <a:pt x="614" y="680"/>
                  </a:lnTo>
                  <a:lnTo>
                    <a:pt x="614" y="11"/>
                  </a:lnTo>
                  <a:lnTo>
                    <a:pt x="399" y="11"/>
                  </a:lnTo>
                  <a:lnTo>
                    <a:pt x="399" y="259"/>
                  </a:lnTo>
                  <a:close/>
                </a:path>
              </a:pathLst>
            </a:custGeom>
            <a:solidFill>
              <a:srgbClr val="62626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19" name="Freeform 171">
              <a:extLst>
                <a:ext uri="{FF2B5EF4-FFF2-40B4-BE49-F238E27FC236}">
                  <a16:creationId xmlns:a16="http://schemas.microsoft.com/office/drawing/2014/main" id="{8B964A30-531E-4A9F-8DE7-8DEF65D18A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0" y="1132"/>
              <a:ext cx="482" cy="965"/>
            </a:xfrm>
            <a:custGeom>
              <a:avLst/>
              <a:gdLst>
                <a:gd name="T0" fmla="*/ 0 w 482"/>
                <a:gd name="T1" fmla="*/ 640 h 965"/>
                <a:gd name="T2" fmla="*/ 482 w 482"/>
                <a:gd name="T3" fmla="*/ 965 h 965"/>
                <a:gd name="T4" fmla="*/ 482 w 482"/>
                <a:gd name="T5" fmla="*/ 325 h 965"/>
                <a:gd name="T6" fmla="*/ 0 w 482"/>
                <a:gd name="T7" fmla="*/ 0 h 965"/>
                <a:gd name="T8" fmla="*/ 0 w 482"/>
                <a:gd name="T9" fmla="*/ 64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2" h="965">
                  <a:moveTo>
                    <a:pt x="0" y="640"/>
                  </a:moveTo>
                  <a:lnTo>
                    <a:pt x="482" y="965"/>
                  </a:lnTo>
                  <a:lnTo>
                    <a:pt x="482" y="325"/>
                  </a:lnTo>
                  <a:lnTo>
                    <a:pt x="0" y="0"/>
                  </a:lnTo>
                  <a:lnTo>
                    <a:pt x="0" y="640"/>
                  </a:lnTo>
                  <a:close/>
                </a:path>
              </a:pathLst>
            </a:custGeom>
            <a:solidFill>
              <a:srgbClr val="0058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0" name="Freeform 172">
              <a:extLst>
                <a:ext uri="{FF2B5EF4-FFF2-40B4-BE49-F238E27FC236}">
                  <a16:creationId xmlns:a16="http://schemas.microsoft.com/office/drawing/2014/main" id="{50E4F648-A841-4370-A307-8BF8BE154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8" y="1132"/>
              <a:ext cx="482" cy="965"/>
            </a:xfrm>
            <a:custGeom>
              <a:avLst/>
              <a:gdLst>
                <a:gd name="T0" fmla="*/ 1004 w 1004"/>
                <a:gd name="T1" fmla="*/ 0 h 2008"/>
                <a:gd name="T2" fmla="*/ 0 w 1004"/>
                <a:gd name="T3" fmla="*/ 1004 h 2008"/>
                <a:gd name="T4" fmla="*/ 1004 w 1004"/>
                <a:gd name="T5" fmla="*/ 2008 h 2008"/>
                <a:gd name="T6" fmla="*/ 1004 w 1004"/>
                <a:gd name="T7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1004" y="0"/>
                  </a:moveTo>
                  <a:cubicBezTo>
                    <a:pt x="449" y="0"/>
                    <a:pt x="0" y="450"/>
                    <a:pt x="0" y="1004"/>
                  </a:cubicBezTo>
                  <a:cubicBezTo>
                    <a:pt x="0" y="1558"/>
                    <a:pt x="449" y="2008"/>
                    <a:pt x="1004" y="2008"/>
                  </a:cubicBezTo>
                  <a:lnTo>
                    <a:pt x="1004" y="0"/>
                  </a:lnTo>
                  <a:close/>
                </a:path>
              </a:pathLst>
            </a:custGeom>
            <a:solidFill>
              <a:srgbClr val="0080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1" name="Freeform 173">
              <a:extLst>
                <a:ext uri="{FF2B5EF4-FFF2-40B4-BE49-F238E27FC236}">
                  <a16:creationId xmlns:a16="http://schemas.microsoft.com/office/drawing/2014/main" id="{3B270B79-D8D1-4266-B87B-F2E3E6F760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2" y="1132"/>
              <a:ext cx="482" cy="965"/>
            </a:xfrm>
            <a:custGeom>
              <a:avLst/>
              <a:gdLst>
                <a:gd name="T0" fmla="*/ 0 w 1004"/>
                <a:gd name="T1" fmla="*/ 2008 h 2008"/>
                <a:gd name="T2" fmla="*/ 1004 w 1004"/>
                <a:gd name="T3" fmla="*/ 1004 h 2008"/>
                <a:gd name="T4" fmla="*/ 0 w 1004"/>
                <a:gd name="T5" fmla="*/ 0 h 2008"/>
                <a:gd name="T6" fmla="*/ 0 w 1004"/>
                <a:gd name="T7" fmla="*/ 2008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0" y="2008"/>
                  </a:moveTo>
                  <a:cubicBezTo>
                    <a:pt x="554" y="2008"/>
                    <a:pt x="1004" y="1558"/>
                    <a:pt x="1004" y="1004"/>
                  </a:cubicBezTo>
                  <a:cubicBezTo>
                    <a:pt x="1004" y="450"/>
                    <a:pt x="554" y="0"/>
                    <a:pt x="0" y="0"/>
                  </a:cubicBezTo>
                  <a:lnTo>
                    <a:pt x="0" y="2008"/>
                  </a:lnTo>
                  <a:close/>
                </a:path>
              </a:pathLst>
            </a:custGeom>
            <a:solidFill>
              <a:srgbClr val="0080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25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7006" y="6327649"/>
            <a:ext cx="732565" cy="365125"/>
          </a:xfrm>
          <a:prstGeom prst="rect">
            <a:avLst/>
          </a:prstGeom>
        </p:spPr>
        <p:txBody>
          <a:bodyPr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B06EC4-1553-4EEC-8AFC-5F4512671736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6262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6" name="Group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9563663"/>
              </p:ext>
            </p:extLst>
          </p:nvPr>
        </p:nvGraphicFramePr>
        <p:xfrm>
          <a:off x="424269" y="982380"/>
          <a:ext cx="11477657" cy="4348809"/>
        </p:xfrm>
        <a:graphic>
          <a:graphicData uri="http://schemas.openxmlformats.org/drawingml/2006/table">
            <a:tbl>
              <a:tblPr/>
              <a:tblGrid>
                <a:gridCol w="30794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982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РЕННЫЕ ПРИЧИНЫ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РОПРИЯТИЯ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44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kern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Причина происшествия (шрифт – </a:t>
                      </a:r>
                      <a:r>
                        <a:rPr kumimoji="0" lang="ru-RU" sz="1000" b="0" kern="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Tahoma</a:t>
                      </a:r>
                      <a:r>
                        <a:rPr kumimoji="0" lang="ru-RU" sz="1000" b="0" kern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 10 (Основной текст)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роприятие (шрифт – </a:t>
                      </a:r>
                      <a:r>
                        <a:rPr lang="ru-RU" sz="10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)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ветственный:</a:t>
                      </a:r>
                      <a:r>
                        <a:rPr lang="ru-RU" sz="10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ФИО, должность 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шрифт – </a:t>
                      </a:r>
                      <a:r>
                        <a:rPr lang="ru-RU" sz="10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))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рок: ДД.ММ.ГГГГ</a:t>
                      </a:r>
                      <a:r>
                        <a:rPr lang="ru-RU" sz="10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шрифт – </a:t>
                      </a:r>
                      <a:r>
                        <a:rPr lang="ru-RU" sz="10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)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968647"/>
                  </a:ext>
                </a:extLst>
              </a:tr>
              <a:tr h="13544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kern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Причина происшествия (шрифт – </a:t>
                      </a:r>
                      <a:r>
                        <a:rPr kumimoji="0" lang="ru-RU" sz="1000" b="0" kern="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Tahoma</a:t>
                      </a:r>
                      <a:r>
                        <a:rPr kumimoji="0" lang="ru-RU" sz="1000" b="0" kern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 10 (Основной текст)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роприятие (шрифт – </a:t>
                      </a:r>
                      <a:r>
                        <a:rPr lang="ru-RU" sz="10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)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ветственный:</a:t>
                      </a:r>
                      <a:r>
                        <a:rPr lang="ru-RU" sz="10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ФИО, должность 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шрифт – </a:t>
                      </a:r>
                      <a:r>
                        <a:rPr lang="ru-RU" sz="10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))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рок: ДД.ММ.ГГГГ</a:t>
                      </a:r>
                      <a:r>
                        <a:rPr lang="ru-RU" sz="10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шрифт – </a:t>
                      </a:r>
                      <a:r>
                        <a:rPr lang="ru-RU" sz="10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)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871684"/>
                  </a:ext>
                </a:extLst>
              </a:tr>
              <a:tr h="13544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kern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Причина происшествия (шрифт – </a:t>
                      </a:r>
                      <a:r>
                        <a:rPr kumimoji="0" lang="ru-RU" sz="1000" b="0" kern="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Tahoma</a:t>
                      </a:r>
                      <a:r>
                        <a:rPr kumimoji="0" lang="ru-RU" sz="1000" b="0" kern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 10 (Основной текст)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роприятие (шрифт – </a:t>
                      </a:r>
                      <a:r>
                        <a:rPr lang="ru-RU" sz="10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)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ветственный:</a:t>
                      </a:r>
                      <a:r>
                        <a:rPr lang="ru-RU" sz="10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ФИО, должность 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шрифт – </a:t>
                      </a:r>
                      <a:r>
                        <a:rPr lang="ru-RU" sz="10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))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рок: ДД.ММ.ГГГГ</a:t>
                      </a:r>
                      <a:r>
                        <a:rPr lang="ru-RU" sz="10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шрифт – </a:t>
                      </a:r>
                      <a:r>
                        <a:rPr lang="ru-RU" sz="10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homa</a:t>
                      </a:r>
                      <a:r>
                        <a:rPr lang="ru-RU" sz="10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 (Основной текст)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2669188"/>
                  </a:ext>
                </a:extLst>
              </a:tr>
            </a:tbl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3170152" y="6395871"/>
            <a:ext cx="6096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kumimoji="0" lang="ru-RU" sz="700" dirty="0">
                <a:solidFill>
                  <a:srgbClr val="1F497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Слайды презентации по результатам расследования»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97283" y="241903"/>
            <a:ext cx="9086664" cy="33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ВАНИЕ </a:t>
            </a:r>
            <a:r>
              <a:rPr lang="ru-RU" sz="2400" dirty="0" smtClean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СШЕСТВИЯ</a:t>
            </a:r>
            <a:endParaRPr lang="ru-RU" sz="2400" dirty="0">
              <a:solidFill>
                <a:srgbClr val="0077C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97283" y="615163"/>
            <a:ext cx="9086664" cy="2769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rgbClr val="62626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ДСТВИЕ </a:t>
            </a:r>
            <a:r>
              <a:rPr lang="ru-RU" sz="2000" dirty="0" smtClean="0">
                <a:solidFill>
                  <a:srgbClr val="62626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СШЕСТВИЯ</a:t>
            </a:r>
            <a:endParaRPr lang="ru-RU" sz="2000" dirty="0">
              <a:solidFill>
                <a:srgbClr val="62626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9773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9">
            <a:extLst>
              <a:ext uri="{FF2B5EF4-FFF2-40B4-BE49-F238E27FC236}">
                <a16:creationId xmlns:a16="http://schemas.microsoft.com/office/drawing/2014/main" id="{74DCC01F-E399-416C-ACB6-6FD420F452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19544" y="220314"/>
            <a:ext cx="982383" cy="206717"/>
            <a:chOff x="578" y="1132"/>
            <a:chExt cx="4586" cy="965"/>
          </a:xfrm>
        </p:grpSpPr>
        <p:sp>
          <p:nvSpPr>
            <p:cNvPr id="18" name="Freeform 170">
              <a:extLst>
                <a:ext uri="{FF2B5EF4-FFF2-40B4-BE49-F238E27FC236}">
                  <a16:creationId xmlns:a16="http://schemas.microsoft.com/office/drawing/2014/main" id="{8E1F1075-FACF-4C22-AABE-56A5E14184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13" y="1448"/>
              <a:ext cx="2851" cy="333"/>
            </a:xfrm>
            <a:custGeom>
              <a:avLst/>
              <a:gdLst>
                <a:gd name="T0" fmla="*/ 2911 w 5938"/>
                <a:gd name="T1" fmla="*/ 11 h 694"/>
                <a:gd name="T2" fmla="*/ 2707 w 5938"/>
                <a:gd name="T3" fmla="*/ 680 h 694"/>
                <a:gd name="T4" fmla="*/ 3117 w 5938"/>
                <a:gd name="T5" fmla="*/ 344 h 694"/>
                <a:gd name="T6" fmla="*/ 3321 w 5938"/>
                <a:gd name="T7" fmla="*/ 680 h 694"/>
                <a:gd name="T8" fmla="*/ 3132 w 5938"/>
                <a:gd name="T9" fmla="*/ 11 h 694"/>
                <a:gd name="T10" fmla="*/ 1735 w 5938"/>
                <a:gd name="T11" fmla="*/ 282 h 694"/>
                <a:gd name="T12" fmla="*/ 1588 w 5938"/>
                <a:gd name="T13" fmla="*/ 353 h 694"/>
                <a:gd name="T14" fmla="*/ 1669 w 5938"/>
                <a:gd name="T15" fmla="*/ 176 h 694"/>
                <a:gd name="T16" fmla="*/ 1735 w 5938"/>
                <a:gd name="T17" fmla="*/ 282 h 694"/>
                <a:gd name="T18" fmla="*/ 1372 w 5938"/>
                <a:gd name="T19" fmla="*/ 11 h 694"/>
                <a:gd name="T20" fmla="*/ 1588 w 5938"/>
                <a:gd name="T21" fmla="*/ 680 h 694"/>
                <a:gd name="T22" fmla="*/ 1691 w 5938"/>
                <a:gd name="T23" fmla="*/ 516 h 694"/>
                <a:gd name="T24" fmla="*/ 1944 w 5938"/>
                <a:gd name="T25" fmla="*/ 225 h 694"/>
                <a:gd name="T26" fmla="*/ 4741 w 5938"/>
                <a:gd name="T27" fmla="*/ 365 h 694"/>
                <a:gd name="T28" fmla="*/ 4613 w 5938"/>
                <a:gd name="T29" fmla="*/ 506 h 694"/>
                <a:gd name="T30" fmla="*/ 4697 w 5938"/>
                <a:gd name="T31" fmla="*/ 680 h 694"/>
                <a:gd name="T32" fmla="*/ 4948 w 5938"/>
                <a:gd name="T33" fmla="*/ 186 h 694"/>
                <a:gd name="T34" fmla="*/ 5069 w 5938"/>
                <a:gd name="T35" fmla="*/ 680 h 694"/>
                <a:gd name="T36" fmla="*/ 5284 w 5938"/>
                <a:gd name="T37" fmla="*/ 11 h 694"/>
                <a:gd name="T38" fmla="*/ 4741 w 5938"/>
                <a:gd name="T39" fmla="*/ 365 h 694"/>
                <a:gd name="T40" fmla="*/ 1003 w 5938"/>
                <a:gd name="T41" fmla="*/ 536 h 694"/>
                <a:gd name="T42" fmla="*/ 904 w 5938"/>
                <a:gd name="T43" fmla="*/ 455 h 694"/>
                <a:gd name="T44" fmla="*/ 984 w 5938"/>
                <a:gd name="T45" fmla="*/ 158 h 694"/>
                <a:gd name="T46" fmla="*/ 1083 w 5938"/>
                <a:gd name="T47" fmla="*/ 238 h 694"/>
                <a:gd name="T48" fmla="*/ 1046 w 5938"/>
                <a:gd name="T49" fmla="*/ 0 h 694"/>
                <a:gd name="T50" fmla="*/ 687 w 5938"/>
                <a:gd name="T51" fmla="*/ 254 h 694"/>
                <a:gd name="T52" fmla="*/ 941 w 5938"/>
                <a:gd name="T53" fmla="*/ 694 h 694"/>
                <a:gd name="T54" fmla="*/ 1299 w 5938"/>
                <a:gd name="T55" fmla="*/ 440 h 694"/>
                <a:gd name="T56" fmla="*/ 1046 w 5938"/>
                <a:gd name="T57" fmla="*/ 0 h 694"/>
                <a:gd name="T58" fmla="*/ 3798 w 5938"/>
                <a:gd name="T59" fmla="*/ 11 h 694"/>
                <a:gd name="T60" fmla="*/ 3631 w 5938"/>
                <a:gd name="T61" fmla="*/ 264 h 694"/>
                <a:gd name="T62" fmla="*/ 3416 w 5938"/>
                <a:gd name="T63" fmla="*/ 11 h 694"/>
                <a:gd name="T64" fmla="*/ 3631 w 5938"/>
                <a:gd name="T65" fmla="*/ 680 h 694"/>
                <a:gd name="T66" fmla="*/ 3684 w 5938"/>
                <a:gd name="T67" fmla="*/ 443 h 694"/>
                <a:gd name="T68" fmla="*/ 4047 w 5938"/>
                <a:gd name="T69" fmla="*/ 680 h 694"/>
                <a:gd name="T70" fmla="*/ 4031 w 5938"/>
                <a:gd name="T71" fmla="*/ 11 h 694"/>
                <a:gd name="T72" fmla="*/ 4540 w 5938"/>
                <a:gd name="T73" fmla="*/ 426 h 694"/>
                <a:gd name="T74" fmla="*/ 4297 w 5938"/>
                <a:gd name="T75" fmla="*/ 267 h 694"/>
                <a:gd name="T76" fmla="*/ 4562 w 5938"/>
                <a:gd name="T77" fmla="*/ 186 h 694"/>
                <a:gd name="T78" fmla="*/ 4082 w 5938"/>
                <a:gd name="T79" fmla="*/ 11 h 694"/>
                <a:gd name="T80" fmla="*/ 4582 w 5938"/>
                <a:gd name="T81" fmla="*/ 680 h 694"/>
                <a:gd name="T82" fmla="*/ 4297 w 5938"/>
                <a:gd name="T83" fmla="*/ 506 h 694"/>
                <a:gd name="T84" fmla="*/ 5663 w 5938"/>
                <a:gd name="T85" fmla="*/ 516 h 694"/>
                <a:gd name="T86" fmla="*/ 5582 w 5938"/>
                <a:gd name="T87" fmla="*/ 370 h 694"/>
                <a:gd name="T88" fmla="*/ 5729 w 5938"/>
                <a:gd name="T89" fmla="*/ 443 h 694"/>
                <a:gd name="T90" fmla="*/ 5685 w 5938"/>
                <a:gd name="T91" fmla="*/ 206 h 694"/>
                <a:gd name="T92" fmla="*/ 5582 w 5938"/>
                <a:gd name="T93" fmla="*/ 11 h 694"/>
                <a:gd name="T94" fmla="*/ 5366 w 5938"/>
                <a:gd name="T95" fmla="*/ 680 h 694"/>
                <a:gd name="T96" fmla="*/ 5938 w 5938"/>
                <a:gd name="T97" fmla="*/ 467 h 694"/>
                <a:gd name="T98" fmla="*/ 5685 w 5938"/>
                <a:gd name="T99" fmla="*/ 206 h 694"/>
                <a:gd name="T100" fmla="*/ 2214 w 5938"/>
                <a:gd name="T101" fmla="*/ 259 h 694"/>
                <a:gd name="T102" fmla="*/ 1999 w 5938"/>
                <a:gd name="T103" fmla="*/ 11 h 694"/>
                <a:gd name="T104" fmla="*/ 2214 w 5938"/>
                <a:gd name="T105" fmla="*/ 680 h 694"/>
                <a:gd name="T106" fmla="*/ 2398 w 5938"/>
                <a:gd name="T107" fmla="*/ 443 h 694"/>
                <a:gd name="T108" fmla="*/ 2613 w 5938"/>
                <a:gd name="T109" fmla="*/ 680 h 694"/>
                <a:gd name="T110" fmla="*/ 2398 w 5938"/>
                <a:gd name="T111" fmla="*/ 11 h 694"/>
                <a:gd name="T112" fmla="*/ 399 w 5938"/>
                <a:gd name="T113" fmla="*/ 259 h 694"/>
                <a:gd name="T114" fmla="*/ 215 w 5938"/>
                <a:gd name="T115" fmla="*/ 11 h 694"/>
                <a:gd name="T116" fmla="*/ 0 w 5938"/>
                <a:gd name="T117" fmla="*/ 680 h 694"/>
                <a:gd name="T118" fmla="*/ 215 w 5938"/>
                <a:gd name="T119" fmla="*/ 443 h 694"/>
                <a:gd name="T120" fmla="*/ 399 w 5938"/>
                <a:gd name="T121" fmla="*/ 680 h 694"/>
                <a:gd name="T122" fmla="*/ 614 w 5938"/>
                <a:gd name="T123" fmla="*/ 11 h 694"/>
                <a:gd name="T124" fmla="*/ 399 w 5938"/>
                <a:gd name="T125" fmla="*/ 259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38" h="694">
                  <a:moveTo>
                    <a:pt x="2911" y="350"/>
                  </a:moveTo>
                  <a:lnTo>
                    <a:pt x="2911" y="11"/>
                  </a:lnTo>
                  <a:lnTo>
                    <a:pt x="2707" y="11"/>
                  </a:lnTo>
                  <a:lnTo>
                    <a:pt x="2707" y="680"/>
                  </a:lnTo>
                  <a:lnTo>
                    <a:pt x="2896" y="680"/>
                  </a:lnTo>
                  <a:lnTo>
                    <a:pt x="3117" y="344"/>
                  </a:lnTo>
                  <a:lnTo>
                    <a:pt x="3117" y="680"/>
                  </a:lnTo>
                  <a:lnTo>
                    <a:pt x="3321" y="680"/>
                  </a:lnTo>
                  <a:lnTo>
                    <a:pt x="3321" y="11"/>
                  </a:lnTo>
                  <a:lnTo>
                    <a:pt x="3132" y="11"/>
                  </a:lnTo>
                  <a:lnTo>
                    <a:pt x="2911" y="350"/>
                  </a:lnTo>
                  <a:close/>
                  <a:moveTo>
                    <a:pt x="1735" y="282"/>
                  </a:moveTo>
                  <a:cubicBezTo>
                    <a:pt x="1735" y="306"/>
                    <a:pt x="1722" y="353"/>
                    <a:pt x="1660" y="353"/>
                  </a:cubicBezTo>
                  <a:lnTo>
                    <a:pt x="1588" y="353"/>
                  </a:lnTo>
                  <a:lnTo>
                    <a:pt x="1588" y="176"/>
                  </a:lnTo>
                  <a:lnTo>
                    <a:pt x="1669" y="176"/>
                  </a:lnTo>
                  <a:cubicBezTo>
                    <a:pt x="1691" y="176"/>
                    <a:pt x="1735" y="194"/>
                    <a:pt x="1735" y="246"/>
                  </a:cubicBezTo>
                  <a:lnTo>
                    <a:pt x="1735" y="282"/>
                  </a:lnTo>
                  <a:close/>
                  <a:moveTo>
                    <a:pt x="1691" y="11"/>
                  </a:moveTo>
                  <a:lnTo>
                    <a:pt x="1372" y="11"/>
                  </a:lnTo>
                  <a:lnTo>
                    <a:pt x="1372" y="680"/>
                  </a:lnTo>
                  <a:lnTo>
                    <a:pt x="1588" y="680"/>
                  </a:lnTo>
                  <a:lnTo>
                    <a:pt x="1588" y="516"/>
                  </a:lnTo>
                  <a:lnTo>
                    <a:pt x="1691" y="516"/>
                  </a:lnTo>
                  <a:cubicBezTo>
                    <a:pt x="1830" y="516"/>
                    <a:pt x="1944" y="439"/>
                    <a:pt x="1944" y="303"/>
                  </a:cubicBezTo>
                  <a:lnTo>
                    <a:pt x="1944" y="225"/>
                  </a:lnTo>
                  <a:cubicBezTo>
                    <a:pt x="1944" y="88"/>
                    <a:pt x="1830" y="11"/>
                    <a:pt x="1691" y="11"/>
                  </a:cubicBezTo>
                  <a:close/>
                  <a:moveTo>
                    <a:pt x="4741" y="365"/>
                  </a:moveTo>
                  <a:cubicBezTo>
                    <a:pt x="4741" y="467"/>
                    <a:pt x="4714" y="482"/>
                    <a:pt x="4675" y="500"/>
                  </a:cubicBezTo>
                  <a:cubicBezTo>
                    <a:pt x="4659" y="508"/>
                    <a:pt x="4613" y="506"/>
                    <a:pt x="4613" y="506"/>
                  </a:cubicBezTo>
                  <a:lnTo>
                    <a:pt x="4613" y="680"/>
                  </a:lnTo>
                  <a:lnTo>
                    <a:pt x="4697" y="680"/>
                  </a:lnTo>
                  <a:cubicBezTo>
                    <a:pt x="4879" y="680"/>
                    <a:pt x="4946" y="575"/>
                    <a:pt x="4948" y="339"/>
                  </a:cubicBezTo>
                  <a:cubicBezTo>
                    <a:pt x="4949" y="285"/>
                    <a:pt x="4948" y="233"/>
                    <a:pt x="4948" y="186"/>
                  </a:cubicBezTo>
                  <a:lnTo>
                    <a:pt x="5069" y="186"/>
                  </a:lnTo>
                  <a:lnTo>
                    <a:pt x="5069" y="680"/>
                  </a:lnTo>
                  <a:lnTo>
                    <a:pt x="5284" y="680"/>
                  </a:lnTo>
                  <a:lnTo>
                    <a:pt x="5284" y="11"/>
                  </a:lnTo>
                  <a:lnTo>
                    <a:pt x="4741" y="11"/>
                  </a:lnTo>
                  <a:lnTo>
                    <a:pt x="4741" y="365"/>
                  </a:lnTo>
                  <a:close/>
                  <a:moveTo>
                    <a:pt x="1083" y="455"/>
                  </a:moveTo>
                  <a:cubicBezTo>
                    <a:pt x="1083" y="500"/>
                    <a:pt x="1047" y="536"/>
                    <a:pt x="1003" y="536"/>
                  </a:cubicBezTo>
                  <a:lnTo>
                    <a:pt x="984" y="536"/>
                  </a:lnTo>
                  <a:cubicBezTo>
                    <a:pt x="940" y="536"/>
                    <a:pt x="904" y="500"/>
                    <a:pt x="904" y="455"/>
                  </a:cubicBezTo>
                  <a:lnTo>
                    <a:pt x="904" y="238"/>
                  </a:lnTo>
                  <a:cubicBezTo>
                    <a:pt x="904" y="194"/>
                    <a:pt x="940" y="158"/>
                    <a:pt x="984" y="158"/>
                  </a:cubicBezTo>
                  <a:lnTo>
                    <a:pt x="1003" y="158"/>
                  </a:lnTo>
                  <a:cubicBezTo>
                    <a:pt x="1047" y="158"/>
                    <a:pt x="1083" y="194"/>
                    <a:pt x="1083" y="238"/>
                  </a:cubicBezTo>
                  <a:lnTo>
                    <a:pt x="1083" y="455"/>
                  </a:lnTo>
                  <a:close/>
                  <a:moveTo>
                    <a:pt x="1046" y="0"/>
                  </a:moveTo>
                  <a:lnTo>
                    <a:pt x="941" y="0"/>
                  </a:lnTo>
                  <a:cubicBezTo>
                    <a:pt x="801" y="0"/>
                    <a:pt x="687" y="100"/>
                    <a:pt x="687" y="254"/>
                  </a:cubicBezTo>
                  <a:lnTo>
                    <a:pt x="687" y="440"/>
                  </a:lnTo>
                  <a:cubicBezTo>
                    <a:pt x="687" y="595"/>
                    <a:pt x="801" y="694"/>
                    <a:pt x="941" y="694"/>
                  </a:cubicBezTo>
                  <a:lnTo>
                    <a:pt x="1046" y="694"/>
                  </a:lnTo>
                  <a:cubicBezTo>
                    <a:pt x="1185" y="694"/>
                    <a:pt x="1299" y="594"/>
                    <a:pt x="1299" y="440"/>
                  </a:cubicBezTo>
                  <a:lnTo>
                    <a:pt x="1299" y="254"/>
                  </a:lnTo>
                  <a:cubicBezTo>
                    <a:pt x="1299" y="91"/>
                    <a:pt x="1185" y="0"/>
                    <a:pt x="1046" y="0"/>
                  </a:cubicBezTo>
                  <a:close/>
                  <a:moveTo>
                    <a:pt x="4031" y="11"/>
                  </a:moveTo>
                  <a:lnTo>
                    <a:pt x="3798" y="11"/>
                  </a:lnTo>
                  <a:lnTo>
                    <a:pt x="3684" y="264"/>
                  </a:lnTo>
                  <a:lnTo>
                    <a:pt x="3631" y="264"/>
                  </a:lnTo>
                  <a:lnTo>
                    <a:pt x="3631" y="11"/>
                  </a:lnTo>
                  <a:lnTo>
                    <a:pt x="3416" y="11"/>
                  </a:lnTo>
                  <a:lnTo>
                    <a:pt x="3416" y="680"/>
                  </a:lnTo>
                  <a:lnTo>
                    <a:pt x="3631" y="680"/>
                  </a:lnTo>
                  <a:lnTo>
                    <a:pt x="3631" y="443"/>
                  </a:lnTo>
                  <a:lnTo>
                    <a:pt x="3684" y="443"/>
                  </a:lnTo>
                  <a:lnTo>
                    <a:pt x="3800" y="680"/>
                  </a:lnTo>
                  <a:lnTo>
                    <a:pt x="4047" y="680"/>
                  </a:lnTo>
                  <a:lnTo>
                    <a:pt x="3864" y="343"/>
                  </a:lnTo>
                  <a:lnTo>
                    <a:pt x="4031" y="11"/>
                  </a:lnTo>
                  <a:close/>
                  <a:moveTo>
                    <a:pt x="4297" y="426"/>
                  </a:moveTo>
                  <a:lnTo>
                    <a:pt x="4540" y="426"/>
                  </a:lnTo>
                  <a:lnTo>
                    <a:pt x="4540" y="267"/>
                  </a:lnTo>
                  <a:lnTo>
                    <a:pt x="4297" y="267"/>
                  </a:lnTo>
                  <a:lnTo>
                    <a:pt x="4297" y="186"/>
                  </a:lnTo>
                  <a:lnTo>
                    <a:pt x="4562" y="186"/>
                  </a:lnTo>
                  <a:lnTo>
                    <a:pt x="4562" y="11"/>
                  </a:lnTo>
                  <a:lnTo>
                    <a:pt x="4082" y="11"/>
                  </a:lnTo>
                  <a:lnTo>
                    <a:pt x="4082" y="680"/>
                  </a:lnTo>
                  <a:lnTo>
                    <a:pt x="4582" y="680"/>
                  </a:lnTo>
                  <a:lnTo>
                    <a:pt x="4582" y="506"/>
                  </a:lnTo>
                  <a:lnTo>
                    <a:pt x="4297" y="506"/>
                  </a:lnTo>
                  <a:lnTo>
                    <a:pt x="4297" y="426"/>
                  </a:lnTo>
                  <a:close/>
                  <a:moveTo>
                    <a:pt x="5663" y="516"/>
                  </a:moveTo>
                  <a:lnTo>
                    <a:pt x="5582" y="516"/>
                  </a:lnTo>
                  <a:lnTo>
                    <a:pt x="5582" y="370"/>
                  </a:lnTo>
                  <a:lnTo>
                    <a:pt x="5654" y="370"/>
                  </a:lnTo>
                  <a:cubicBezTo>
                    <a:pt x="5715" y="370"/>
                    <a:pt x="5729" y="414"/>
                    <a:pt x="5729" y="443"/>
                  </a:cubicBezTo>
                  <a:cubicBezTo>
                    <a:pt x="5729" y="503"/>
                    <a:pt x="5679" y="516"/>
                    <a:pt x="5663" y="516"/>
                  </a:cubicBezTo>
                  <a:close/>
                  <a:moveTo>
                    <a:pt x="5685" y="206"/>
                  </a:moveTo>
                  <a:lnTo>
                    <a:pt x="5582" y="206"/>
                  </a:lnTo>
                  <a:lnTo>
                    <a:pt x="5582" y="11"/>
                  </a:lnTo>
                  <a:lnTo>
                    <a:pt x="5366" y="11"/>
                  </a:lnTo>
                  <a:lnTo>
                    <a:pt x="5366" y="680"/>
                  </a:lnTo>
                  <a:lnTo>
                    <a:pt x="5685" y="680"/>
                  </a:lnTo>
                  <a:cubicBezTo>
                    <a:pt x="5824" y="680"/>
                    <a:pt x="5938" y="604"/>
                    <a:pt x="5938" y="467"/>
                  </a:cubicBezTo>
                  <a:lnTo>
                    <a:pt x="5938" y="420"/>
                  </a:lnTo>
                  <a:cubicBezTo>
                    <a:pt x="5938" y="283"/>
                    <a:pt x="5824" y="206"/>
                    <a:pt x="5685" y="206"/>
                  </a:cubicBezTo>
                  <a:close/>
                  <a:moveTo>
                    <a:pt x="2398" y="259"/>
                  </a:moveTo>
                  <a:lnTo>
                    <a:pt x="2214" y="259"/>
                  </a:lnTo>
                  <a:lnTo>
                    <a:pt x="2214" y="11"/>
                  </a:lnTo>
                  <a:lnTo>
                    <a:pt x="1999" y="11"/>
                  </a:lnTo>
                  <a:lnTo>
                    <a:pt x="1999" y="680"/>
                  </a:lnTo>
                  <a:lnTo>
                    <a:pt x="2214" y="680"/>
                  </a:lnTo>
                  <a:lnTo>
                    <a:pt x="2214" y="443"/>
                  </a:lnTo>
                  <a:lnTo>
                    <a:pt x="2398" y="443"/>
                  </a:lnTo>
                  <a:lnTo>
                    <a:pt x="2398" y="680"/>
                  </a:lnTo>
                  <a:lnTo>
                    <a:pt x="2613" y="680"/>
                  </a:lnTo>
                  <a:lnTo>
                    <a:pt x="2613" y="11"/>
                  </a:lnTo>
                  <a:lnTo>
                    <a:pt x="2398" y="11"/>
                  </a:lnTo>
                  <a:lnTo>
                    <a:pt x="2398" y="259"/>
                  </a:lnTo>
                  <a:close/>
                  <a:moveTo>
                    <a:pt x="399" y="259"/>
                  </a:moveTo>
                  <a:lnTo>
                    <a:pt x="215" y="259"/>
                  </a:lnTo>
                  <a:lnTo>
                    <a:pt x="215" y="11"/>
                  </a:lnTo>
                  <a:lnTo>
                    <a:pt x="0" y="11"/>
                  </a:lnTo>
                  <a:lnTo>
                    <a:pt x="0" y="680"/>
                  </a:lnTo>
                  <a:lnTo>
                    <a:pt x="215" y="680"/>
                  </a:lnTo>
                  <a:lnTo>
                    <a:pt x="215" y="443"/>
                  </a:lnTo>
                  <a:lnTo>
                    <a:pt x="399" y="443"/>
                  </a:lnTo>
                  <a:lnTo>
                    <a:pt x="399" y="680"/>
                  </a:lnTo>
                  <a:lnTo>
                    <a:pt x="614" y="680"/>
                  </a:lnTo>
                  <a:lnTo>
                    <a:pt x="614" y="11"/>
                  </a:lnTo>
                  <a:lnTo>
                    <a:pt x="399" y="11"/>
                  </a:lnTo>
                  <a:lnTo>
                    <a:pt x="399" y="259"/>
                  </a:lnTo>
                  <a:close/>
                </a:path>
              </a:pathLst>
            </a:custGeom>
            <a:solidFill>
              <a:srgbClr val="62626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19" name="Freeform 171">
              <a:extLst>
                <a:ext uri="{FF2B5EF4-FFF2-40B4-BE49-F238E27FC236}">
                  <a16:creationId xmlns:a16="http://schemas.microsoft.com/office/drawing/2014/main" id="{8B964A30-531E-4A9F-8DE7-8DEF65D18A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0" y="1132"/>
              <a:ext cx="482" cy="965"/>
            </a:xfrm>
            <a:custGeom>
              <a:avLst/>
              <a:gdLst>
                <a:gd name="T0" fmla="*/ 0 w 482"/>
                <a:gd name="T1" fmla="*/ 640 h 965"/>
                <a:gd name="T2" fmla="*/ 482 w 482"/>
                <a:gd name="T3" fmla="*/ 965 h 965"/>
                <a:gd name="T4" fmla="*/ 482 w 482"/>
                <a:gd name="T5" fmla="*/ 325 h 965"/>
                <a:gd name="T6" fmla="*/ 0 w 482"/>
                <a:gd name="T7" fmla="*/ 0 h 965"/>
                <a:gd name="T8" fmla="*/ 0 w 482"/>
                <a:gd name="T9" fmla="*/ 64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2" h="965">
                  <a:moveTo>
                    <a:pt x="0" y="640"/>
                  </a:moveTo>
                  <a:lnTo>
                    <a:pt x="482" y="965"/>
                  </a:lnTo>
                  <a:lnTo>
                    <a:pt x="482" y="325"/>
                  </a:lnTo>
                  <a:lnTo>
                    <a:pt x="0" y="0"/>
                  </a:lnTo>
                  <a:lnTo>
                    <a:pt x="0" y="640"/>
                  </a:lnTo>
                  <a:close/>
                </a:path>
              </a:pathLst>
            </a:custGeom>
            <a:solidFill>
              <a:srgbClr val="0058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0" name="Freeform 172">
              <a:extLst>
                <a:ext uri="{FF2B5EF4-FFF2-40B4-BE49-F238E27FC236}">
                  <a16:creationId xmlns:a16="http://schemas.microsoft.com/office/drawing/2014/main" id="{50E4F648-A841-4370-A307-8BF8BE1543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8" y="1132"/>
              <a:ext cx="482" cy="965"/>
            </a:xfrm>
            <a:custGeom>
              <a:avLst/>
              <a:gdLst>
                <a:gd name="T0" fmla="*/ 1004 w 1004"/>
                <a:gd name="T1" fmla="*/ 0 h 2008"/>
                <a:gd name="T2" fmla="*/ 0 w 1004"/>
                <a:gd name="T3" fmla="*/ 1004 h 2008"/>
                <a:gd name="T4" fmla="*/ 1004 w 1004"/>
                <a:gd name="T5" fmla="*/ 2008 h 2008"/>
                <a:gd name="T6" fmla="*/ 1004 w 1004"/>
                <a:gd name="T7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1004" y="0"/>
                  </a:moveTo>
                  <a:cubicBezTo>
                    <a:pt x="449" y="0"/>
                    <a:pt x="0" y="450"/>
                    <a:pt x="0" y="1004"/>
                  </a:cubicBezTo>
                  <a:cubicBezTo>
                    <a:pt x="0" y="1558"/>
                    <a:pt x="449" y="2008"/>
                    <a:pt x="1004" y="2008"/>
                  </a:cubicBezTo>
                  <a:lnTo>
                    <a:pt x="1004" y="0"/>
                  </a:lnTo>
                  <a:close/>
                </a:path>
              </a:pathLst>
            </a:custGeom>
            <a:solidFill>
              <a:srgbClr val="0080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1" name="Freeform 173">
              <a:extLst>
                <a:ext uri="{FF2B5EF4-FFF2-40B4-BE49-F238E27FC236}">
                  <a16:creationId xmlns:a16="http://schemas.microsoft.com/office/drawing/2014/main" id="{3B270B79-D8D1-4266-B87B-F2E3E6F760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2" y="1132"/>
              <a:ext cx="482" cy="965"/>
            </a:xfrm>
            <a:custGeom>
              <a:avLst/>
              <a:gdLst>
                <a:gd name="T0" fmla="*/ 0 w 1004"/>
                <a:gd name="T1" fmla="*/ 2008 h 2008"/>
                <a:gd name="T2" fmla="*/ 1004 w 1004"/>
                <a:gd name="T3" fmla="*/ 1004 h 2008"/>
                <a:gd name="T4" fmla="*/ 0 w 1004"/>
                <a:gd name="T5" fmla="*/ 0 h 2008"/>
                <a:gd name="T6" fmla="*/ 0 w 1004"/>
                <a:gd name="T7" fmla="*/ 2008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0" y="2008"/>
                  </a:moveTo>
                  <a:cubicBezTo>
                    <a:pt x="554" y="2008"/>
                    <a:pt x="1004" y="1558"/>
                    <a:pt x="1004" y="1004"/>
                  </a:cubicBezTo>
                  <a:cubicBezTo>
                    <a:pt x="1004" y="450"/>
                    <a:pt x="554" y="0"/>
                    <a:pt x="0" y="0"/>
                  </a:cubicBezTo>
                  <a:lnTo>
                    <a:pt x="0" y="2008"/>
                  </a:lnTo>
                  <a:close/>
                </a:path>
              </a:pathLst>
            </a:custGeom>
            <a:solidFill>
              <a:srgbClr val="0080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22" name="Заголовок 1"/>
          <p:cNvSpPr txBox="1">
            <a:spLocks/>
          </p:cNvSpPr>
          <p:nvPr/>
        </p:nvSpPr>
        <p:spPr>
          <a:xfrm>
            <a:off x="497283" y="241903"/>
            <a:ext cx="9086664" cy="33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ВАНИЕ </a:t>
            </a:r>
            <a:r>
              <a:rPr lang="ru-RU" sz="2400" dirty="0" smtClean="0">
                <a:solidFill>
                  <a:srgbClr val="0077C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СШЕСТВИЯ</a:t>
            </a:r>
            <a:endParaRPr lang="ru-RU" sz="2400" dirty="0">
              <a:solidFill>
                <a:srgbClr val="0077C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497283" y="615163"/>
            <a:ext cx="9086664" cy="2769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rgbClr val="62626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ДСТВИЕ </a:t>
            </a:r>
            <a:r>
              <a:rPr lang="ru-RU" sz="2000" dirty="0" smtClean="0">
                <a:solidFill>
                  <a:srgbClr val="62626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СШЕСТВИЯ</a:t>
            </a:r>
            <a:endParaRPr lang="ru-RU" sz="2000" dirty="0">
              <a:solidFill>
                <a:srgbClr val="62626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7006" y="6327649"/>
            <a:ext cx="732565" cy="365125"/>
          </a:xfrm>
          <a:prstGeom prst="rect">
            <a:avLst/>
          </a:prstGeom>
        </p:spPr>
        <p:txBody>
          <a:bodyPr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B06EC4-1553-4EEC-8AFC-5F4512671736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6262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62626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170152" y="6395871"/>
            <a:ext cx="6096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kumimoji="0" lang="ru-RU" sz="700" dirty="0">
                <a:solidFill>
                  <a:srgbClr val="1F497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Слайды презентации по результатам расследования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318047" y="1107922"/>
            <a:ext cx="576311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ru-RU" sz="2000" dirty="0" smtClean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Ы ДИСЦИПЛИНАРНОЙ ОТВЕТСТВЕННОСТИ</a:t>
            </a:r>
            <a:endParaRPr lang="ru-RU" sz="20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8549507"/>
              </p:ext>
            </p:extLst>
          </p:nvPr>
        </p:nvGraphicFramePr>
        <p:xfrm>
          <a:off x="497283" y="1520576"/>
          <a:ext cx="11404644" cy="1894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50445">
                  <a:extLst>
                    <a:ext uri="{9D8B030D-6E8A-4147-A177-3AD203B41FA5}">
                      <a16:colId xmlns:a16="http://schemas.microsoft.com/office/drawing/2014/main" val="333054570"/>
                    </a:ext>
                  </a:extLst>
                </a:gridCol>
                <a:gridCol w="2664296">
                  <a:extLst>
                    <a:ext uri="{9D8B030D-6E8A-4147-A177-3AD203B41FA5}">
                      <a16:colId xmlns:a16="http://schemas.microsoft.com/office/drawing/2014/main" val="991820566"/>
                    </a:ext>
                  </a:extLst>
                </a:gridCol>
                <a:gridCol w="2738742">
                  <a:extLst>
                    <a:ext uri="{9D8B030D-6E8A-4147-A177-3AD203B41FA5}">
                      <a16:colId xmlns:a16="http://schemas.microsoft.com/office/drawing/2014/main" val="3607247554"/>
                    </a:ext>
                  </a:extLst>
                </a:gridCol>
                <a:gridCol w="2851161">
                  <a:extLst>
                    <a:ext uri="{9D8B030D-6E8A-4147-A177-3AD203B41FA5}">
                      <a16:colId xmlns:a16="http://schemas.microsoft.com/office/drawing/2014/main" val="2046216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2"/>
                          </a:solidFill>
                          <a:effectLst/>
                        </a:rPr>
                        <a:t>СТРУКТУРНОЕ ПОДРАЗДЕЛЕНИЕ</a:t>
                      </a:r>
                      <a:endParaRPr lang="ru-RU" sz="1400" b="0" dirty="0">
                        <a:solidFill>
                          <a:schemeClr val="accent2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114300" marR="11430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2"/>
                          </a:solidFill>
                        </a:rPr>
                        <a:t>ФИО</a:t>
                      </a:r>
                      <a:endParaRPr lang="ru-RU" sz="1400" b="0" dirty="0">
                        <a:solidFill>
                          <a:schemeClr val="accent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2"/>
                          </a:solidFill>
                        </a:rPr>
                        <a:t>ДОЛЖНОСТЬ</a:t>
                      </a:r>
                      <a:endParaRPr lang="ru-RU" sz="1400" b="0" dirty="0">
                        <a:solidFill>
                          <a:schemeClr val="accent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2"/>
                          </a:solidFill>
                        </a:rPr>
                        <a:t>МЕРА ВЗЫСКАНИЯ</a:t>
                      </a:r>
                      <a:endParaRPr lang="ru-RU" sz="1400" b="0" dirty="0">
                        <a:solidFill>
                          <a:schemeClr val="accent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46447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kern="0" dirty="0" smtClean="0">
                          <a:sym typeface="Tahoma"/>
                        </a:rPr>
                        <a:t>Причина происшествия (шрифт – </a:t>
                      </a:r>
                      <a:r>
                        <a:rPr kumimoji="0" lang="ru-RU" sz="1050" kern="0" dirty="0" err="1" smtClean="0">
                          <a:sym typeface="Tahoma"/>
                        </a:rPr>
                        <a:t>Tahoma</a:t>
                      </a:r>
                      <a:r>
                        <a:rPr kumimoji="0" lang="ru-RU" sz="1050" kern="0" dirty="0" smtClean="0">
                          <a:sym typeface="Tahoma"/>
                        </a:rPr>
                        <a:t> 10 (Основной текст))</a:t>
                      </a:r>
                      <a:endParaRPr kumimoji="0" lang="ru-RU" sz="1050" b="0" kern="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Tahoma"/>
                      </a:endParaRPr>
                    </a:p>
                  </a:txBody>
                  <a:tcPr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5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93630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65734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75685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ru-RU" sz="105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080867000"/>
                  </a:ext>
                </a:extLst>
              </a:tr>
            </a:tbl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407367" y="3595618"/>
            <a:ext cx="114945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600"/>
              </a:spcBef>
              <a:spcAft>
                <a:spcPts val="300"/>
              </a:spcAft>
              <a:defRPr/>
            </a:pPr>
            <a:r>
              <a:rPr kumimoji="0" lang="ru-RU" sz="120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лайд оформляется только в случае установления факта(</a:t>
            </a:r>
            <a:r>
              <a:rPr kumimoji="0" lang="ru-RU" sz="1200" dirty="0" err="1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в</a:t>
            </a:r>
            <a:r>
              <a:rPr kumimoji="0" lang="ru-RU" sz="120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неисполнения или ненадлежащего исполнения работником(</a:t>
            </a:r>
            <a:r>
              <a:rPr kumimoji="0" lang="ru-RU" sz="1200" dirty="0" err="1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ми</a:t>
            </a:r>
            <a:r>
              <a:rPr kumimoji="0" lang="ru-RU" sz="120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по его вине возложенных на него трудовых обязанностей, повлиявших на причины происшествия.</a:t>
            </a:r>
            <a:endParaRPr kumimoji="0" lang="ru-RU" sz="1200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949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CG Presentation Template">
  <a:themeElements>
    <a:clrScheme name="DuPont Nornickel Template">
      <a:dk1>
        <a:sysClr val="windowText" lastClr="000000"/>
      </a:dk1>
      <a:lt1>
        <a:sysClr val="window" lastClr="FFFFFF"/>
      </a:lt1>
      <a:dk2>
        <a:srgbClr val="7F7F7F"/>
      </a:dk2>
      <a:lt2>
        <a:srgbClr val="B2B7BB"/>
      </a:lt2>
      <a:accent1>
        <a:srgbClr val="004C97"/>
      </a:accent1>
      <a:accent2>
        <a:srgbClr val="4D82B6"/>
      </a:accent2>
      <a:accent3>
        <a:srgbClr val="99B7D5"/>
      </a:accent3>
      <a:accent4>
        <a:srgbClr val="004C97"/>
      </a:accent4>
      <a:accent5>
        <a:srgbClr val="33484D"/>
      </a:accent5>
      <a:accent6>
        <a:srgbClr val="4D82B6"/>
      </a:accent6>
      <a:hlink>
        <a:srgbClr val="99B7D5"/>
      </a:hlink>
      <a:folHlink>
        <a:srgbClr val="26262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5_Тема Office">
  <a:themeElements>
    <a:clrScheme name="НорНикель основной">
      <a:dk1>
        <a:srgbClr val="2B2A29"/>
      </a:dk1>
      <a:lt1>
        <a:sysClr val="window" lastClr="FFFFFF"/>
      </a:lt1>
      <a:dk2>
        <a:srgbClr val="DA6969"/>
      </a:dk2>
      <a:lt2>
        <a:srgbClr val="EF7F1A"/>
      </a:lt2>
      <a:accent1>
        <a:srgbClr val="004C97"/>
      </a:accent1>
      <a:accent2>
        <a:srgbClr val="0077C8"/>
      </a:accent2>
      <a:accent3>
        <a:srgbClr val="4DA2D7"/>
      </a:accent3>
      <a:accent4>
        <a:srgbClr val="A9D4EA"/>
      </a:accent4>
      <a:accent5>
        <a:srgbClr val="626262"/>
      </a:accent5>
      <a:accent6>
        <a:srgbClr val="9D9E9E"/>
      </a:accent6>
      <a:hlink>
        <a:srgbClr val="0077C8"/>
      </a:hlink>
      <a:folHlink>
        <a:srgbClr val="9D9E9E"/>
      </a:folHlink>
    </a:clrScheme>
    <a:fontScheme name="НорНикель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Тема Office">
  <a:themeElements>
    <a:clrScheme name="НорНикель основной">
      <a:dk1>
        <a:srgbClr val="2B2A29"/>
      </a:dk1>
      <a:lt1>
        <a:sysClr val="window" lastClr="FFFFFF"/>
      </a:lt1>
      <a:dk2>
        <a:srgbClr val="DA6969"/>
      </a:dk2>
      <a:lt2>
        <a:srgbClr val="EF7F1A"/>
      </a:lt2>
      <a:accent1>
        <a:srgbClr val="004C97"/>
      </a:accent1>
      <a:accent2>
        <a:srgbClr val="0077C8"/>
      </a:accent2>
      <a:accent3>
        <a:srgbClr val="4DA2D7"/>
      </a:accent3>
      <a:accent4>
        <a:srgbClr val="A9D4EA"/>
      </a:accent4>
      <a:accent5>
        <a:srgbClr val="626262"/>
      </a:accent5>
      <a:accent6>
        <a:srgbClr val="9D9E9E"/>
      </a:accent6>
      <a:hlink>
        <a:srgbClr val="0077C8"/>
      </a:hlink>
      <a:folHlink>
        <a:srgbClr val="9D9E9E"/>
      </a:folHlink>
    </a:clrScheme>
    <a:fontScheme name="НорНикель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SCG Presentation Template">
  <a:themeElements>
    <a:clrScheme name="DuPont Nornickel Template">
      <a:dk1>
        <a:sysClr val="windowText" lastClr="000000"/>
      </a:dk1>
      <a:lt1>
        <a:sysClr val="window" lastClr="FFFFFF"/>
      </a:lt1>
      <a:dk2>
        <a:srgbClr val="7F7F7F"/>
      </a:dk2>
      <a:lt2>
        <a:srgbClr val="B2B7BB"/>
      </a:lt2>
      <a:accent1>
        <a:srgbClr val="004C97"/>
      </a:accent1>
      <a:accent2>
        <a:srgbClr val="4D82B6"/>
      </a:accent2>
      <a:accent3>
        <a:srgbClr val="99B7D5"/>
      </a:accent3>
      <a:accent4>
        <a:srgbClr val="004C97"/>
      </a:accent4>
      <a:accent5>
        <a:srgbClr val="33484D"/>
      </a:accent5>
      <a:accent6>
        <a:srgbClr val="4D82B6"/>
      </a:accent6>
      <a:hlink>
        <a:srgbClr val="99B7D5"/>
      </a:hlink>
      <a:folHlink>
        <a:srgbClr val="26262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CG Presentation Template">
  <a:themeElements>
    <a:clrScheme name="DuPont Nornickel Template">
      <a:dk1>
        <a:sysClr val="windowText" lastClr="000000"/>
      </a:dk1>
      <a:lt1>
        <a:sysClr val="window" lastClr="FFFFFF"/>
      </a:lt1>
      <a:dk2>
        <a:srgbClr val="7F7F7F"/>
      </a:dk2>
      <a:lt2>
        <a:srgbClr val="B2B7BB"/>
      </a:lt2>
      <a:accent1>
        <a:srgbClr val="004C97"/>
      </a:accent1>
      <a:accent2>
        <a:srgbClr val="4D82B6"/>
      </a:accent2>
      <a:accent3>
        <a:srgbClr val="99B7D5"/>
      </a:accent3>
      <a:accent4>
        <a:srgbClr val="004C97"/>
      </a:accent4>
      <a:accent5>
        <a:srgbClr val="33484D"/>
      </a:accent5>
      <a:accent6>
        <a:srgbClr val="4D82B6"/>
      </a:accent6>
      <a:hlink>
        <a:srgbClr val="99B7D5"/>
      </a:hlink>
      <a:folHlink>
        <a:srgbClr val="26262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SCG Presentation Template">
  <a:themeElements>
    <a:clrScheme name="DuPont Nornickel Template">
      <a:dk1>
        <a:sysClr val="windowText" lastClr="000000"/>
      </a:dk1>
      <a:lt1>
        <a:sysClr val="window" lastClr="FFFFFF"/>
      </a:lt1>
      <a:dk2>
        <a:srgbClr val="7F7F7F"/>
      </a:dk2>
      <a:lt2>
        <a:srgbClr val="B2B7BB"/>
      </a:lt2>
      <a:accent1>
        <a:srgbClr val="004C97"/>
      </a:accent1>
      <a:accent2>
        <a:srgbClr val="4D82B6"/>
      </a:accent2>
      <a:accent3>
        <a:srgbClr val="99B7D5"/>
      </a:accent3>
      <a:accent4>
        <a:srgbClr val="004C97"/>
      </a:accent4>
      <a:accent5>
        <a:srgbClr val="33484D"/>
      </a:accent5>
      <a:accent6>
        <a:srgbClr val="4D82B6"/>
      </a:accent6>
      <a:hlink>
        <a:srgbClr val="99B7D5"/>
      </a:hlink>
      <a:folHlink>
        <a:srgbClr val="26262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SCG Presentation Template">
  <a:themeElements>
    <a:clrScheme name="DuPont Nornickel Template">
      <a:dk1>
        <a:sysClr val="windowText" lastClr="000000"/>
      </a:dk1>
      <a:lt1>
        <a:sysClr val="window" lastClr="FFFFFF"/>
      </a:lt1>
      <a:dk2>
        <a:srgbClr val="7F7F7F"/>
      </a:dk2>
      <a:lt2>
        <a:srgbClr val="B2B7BB"/>
      </a:lt2>
      <a:accent1>
        <a:srgbClr val="004C97"/>
      </a:accent1>
      <a:accent2>
        <a:srgbClr val="4D82B6"/>
      </a:accent2>
      <a:accent3>
        <a:srgbClr val="99B7D5"/>
      </a:accent3>
      <a:accent4>
        <a:srgbClr val="004C97"/>
      </a:accent4>
      <a:accent5>
        <a:srgbClr val="33484D"/>
      </a:accent5>
      <a:accent6>
        <a:srgbClr val="4D82B6"/>
      </a:accent6>
      <a:hlink>
        <a:srgbClr val="99B7D5"/>
      </a:hlink>
      <a:folHlink>
        <a:srgbClr val="26262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SCG Presentation Template">
  <a:themeElements>
    <a:clrScheme name="DuPont Nornickel Template">
      <a:dk1>
        <a:sysClr val="windowText" lastClr="000000"/>
      </a:dk1>
      <a:lt1>
        <a:sysClr val="window" lastClr="FFFFFF"/>
      </a:lt1>
      <a:dk2>
        <a:srgbClr val="7F7F7F"/>
      </a:dk2>
      <a:lt2>
        <a:srgbClr val="B2B7BB"/>
      </a:lt2>
      <a:accent1>
        <a:srgbClr val="004C97"/>
      </a:accent1>
      <a:accent2>
        <a:srgbClr val="4D82B6"/>
      </a:accent2>
      <a:accent3>
        <a:srgbClr val="99B7D5"/>
      </a:accent3>
      <a:accent4>
        <a:srgbClr val="004C97"/>
      </a:accent4>
      <a:accent5>
        <a:srgbClr val="33484D"/>
      </a:accent5>
      <a:accent6>
        <a:srgbClr val="4D82B6"/>
      </a:accent6>
      <a:hlink>
        <a:srgbClr val="99B7D5"/>
      </a:hlink>
      <a:folHlink>
        <a:srgbClr val="26262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SCG Presentation Template">
  <a:themeElements>
    <a:clrScheme name="DuPont Nornickel Template">
      <a:dk1>
        <a:sysClr val="windowText" lastClr="000000"/>
      </a:dk1>
      <a:lt1>
        <a:sysClr val="window" lastClr="FFFFFF"/>
      </a:lt1>
      <a:dk2>
        <a:srgbClr val="7F7F7F"/>
      </a:dk2>
      <a:lt2>
        <a:srgbClr val="B2B7BB"/>
      </a:lt2>
      <a:accent1>
        <a:srgbClr val="004C97"/>
      </a:accent1>
      <a:accent2>
        <a:srgbClr val="4D82B6"/>
      </a:accent2>
      <a:accent3>
        <a:srgbClr val="99B7D5"/>
      </a:accent3>
      <a:accent4>
        <a:srgbClr val="004C97"/>
      </a:accent4>
      <a:accent5>
        <a:srgbClr val="33484D"/>
      </a:accent5>
      <a:accent6>
        <a:srgbClr val="4D82B6"/>
      </a:accent6>
      <a:hlink>
        <a:srgbClr val="99B7D5"/>
      </a:hlink>
      <a:folHlink>
        <a:srgbClr val="26262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_SCG Presentation Template">
  <a:themeElements>
    <a:clrScheme name="DuPont Nornickel Template">
      <a:dk1>
        <a:sysClr val="windowText" lastClr="000000"/>
      </a:dk1>
      <a:lt1>
        <a:sysClr val="window" lastClr="FFFFFF"/>
      </a:lt1>
      <a:dk2>
        <a:srgbClr val="7F7F7F"/>
      </a:dk2>
      <a:lt2>
        <a:srgbClr val="B2B7BB"/>
      </a:lt2>
      <a:accent1>
        <a:srgbClr val="004C97"/>
      </a:accent1>
      <a:accent2>
        <a:srgbClr val="4D82B6"/>
      </a:accent2>
      <a:accent3>
        <a:srgbClr val="99B7D5"/>
      </a:accent3>
      <a:accent4>
        <a:srgbClr val="004C97"/>
      </a:accent4>
      <a:accent5>
        <a:srgbClr val="33484D"/>
      </a:accent5>
      <a:accent6>
        <a:srgbClr val="4D82B6"/>
      </a:accent6>
      <a:hlink>
        <a:srgbClr val="99B7D5"/>
      </a:hlink>
      <a:folHlink>
        <a:srgbClr val="26262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6506</TotalTime>
  <Words>332</Words>
  <Application>Microsoft Office PowerPoint</Application>
  <PresentationFormat>Широкоэкранный</PresentationFormat>
  <Paragraphs>89</Paragraphs>
  <Slides>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21" baseType="lpstr">
      <vt:lpstr>Arial</vt:lpstr>
      <vt:lpstr>Calibri</vt:lpstr>
      <vt:lpstr>Tahoma</vt:lpstr>
      <vt:lpstr>Times New Roman</vt:lpstr>
      <vt:lpstr>Wingdings</vt:lpstr>
      <vt:lpstr>SCG Presentation Template</vt:lpstr>
      <vt:lpstr>6_Тема Office</vt:lpstr>
      <vt:lpstr>1_SCG Presentation Template</vt:lpstr>
      <vt:lpstr>2_SCG Presentation Template</vt:lpstr>
      <vt:lpstr>3_SCG Presentation Template</vt:lpstr>
      <vt:lpstr>4_SCG Presentation Template</vt:lpstr>
      <vt:lpstr>5_SCG Presentation Template</vt:lpstr>
      <vt:lpstr>6_SCG Presentation Template</vt:lpstr>
      <vt:lpstr>7_SCG Presentation Template</vt:lpstr>
      <vt:lpstr>5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O GMK N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атайлов В.В.</dc:creator>
  <cp:lastModifiedBy>Юдин Василий Владимирович</cp:lastModifiedBy>
  <cp:revision>483</cp:revision>
  <cp:lastPrinted>2022-08-02T09:17:20Z</cp:lastPrinted>
  <dcterms:created xsi:type="dcterms:W3CDTF">2006-04-14T10:10:41Z</dcterms:created>
  <dcterms:modified xsi:type="dcterms:W3CDTF">2023-03-16T12:59:05Z</dcterms:modified>
</cp:coreProperties>
</file>